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  <p:sldMasterId id="2147483707" r:id="rId3"/>
    <p:sldMasterId id="2147483720" r:id="rId4"/>
    <p:sldMasterId id="2147483782" r:id="rId5"/>
  </p:sldMasterIdLst>
  <p:notesMasterIdLst>
    <p:notesMasterId r:id="rId12"/>
  </p:notesMasterIdLst>
  <p:sldIdLst>
    <p:sldId id="302" r:id="rId6"/>
    <p:sldId id="283" r:id="rId7"/>
    <p:sldId id="284" r:id="rId8"/>
    <p:sldId id="288" r:id="rId9"/>
    <p:sldId id="289" r:id="rId10"/>
    <p:sldId id="290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6" autoAdjust="0"/>
    <p:restoredTop sz="70335" autoAdjust="0"/>
  </p:normalViewPr>
  <p:slideViewPr>
    <p:cSldViewPr snapToGrid="0">
      <p:cViewPr varScale="1">
        <p:scale>
          <a:sx n="36" d="100"/>
          <a:sy n="36" d="100"/>
        </p:scale>
        <p:origin x="123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7AEF89-F5BF-44A2-B294-672AFE960533}" type="doc">
      <dgm:prSet loTypeId="urn:microsoft.com/office/officeart/2008/layout/LinedList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9048207F-D442-4828-9F7A-607B94A8F46E}">
      <dgm:prSet/>
      <dgm:spPr/>
      <dgm:t>
        <a:bodyPr/>
        <a:lstStyle/>
        <a:p>
          <a:r>
            <a:rPr lang="en-US" b="0" baseline="0" dirty="0"/>
            <a:t>A digitally-sharable, resume-worthy credential for students who demonstrate mastery across a skills map</a:t>
          </a:r>
          <a:endParaRPr lang="en-US" dirty="0"/>
        </a:p>
      </dgm:t>
    </dgm:pt>
    <dgm:pt modelId="{3EE3A75A-D4EF-44F1-A83D-7BA9D1C03128}" type="parTrans" cxnId="{F7139A32-B569-495C-8292-F818DEEC6D74}">
      <dgm:prSet/>
      <dgm:spPr/>
      <dgm:t>
        <a:bodyPr/>
        <a:lstStyle/>
        <a:p>
          <a:endParaRPr lang="en-US"/>
        </a:p>
      </dgm:t>
    </dgm:pt>
    <dgm:pt modelId="{6077B941-9B05-4B69-931A-AEFC23AC99FF}" type="sibTrans" cxnId="{F7139A32-B569-495C-8292-F818DEEC6D74}">
      <dgm:prSet/>
      <dgm:spPr/>
      <dgm:t>
        <a:bodyPr/>
        <a:lstStyle/>
        <a:p>
          <a:endParaRPr lang="en-US"/>
        </a:p>
      </dgm:t>
    </dgm:pt>
    <dgm:pt modelId="{A9A175F9-AD20-496E-855E-0ABF4D1B5D49}">
      <dgm:prSet/>
      <dgm:spPr/>
      <dgm:t>
        <a:bodyPr/>
        <a:lstStyle/>
        <a:p>
          <a:r>
            <a:rPr lang="en-US" b="0" baseline="0" dirty="0"/>
            <a:t>Rigorous curricula with an emphasis on hands-on, real-world problem solving</a:t>
          </a:r>
          <a:endParaRPr lang="en-US" dirty="0"/>
        </a:p>
      </dgm:t>
    </dgm:pt>
    <dgm:pt modelId="{44CB2DF8-CC51-423B-B932-6A1B424E3949}" type="parTrans" cxnId="{288C2BCB-9216-4CB9-8FB5-D1AF6ECB6DBF}">
      <dgm:prSet/>
      <dgm:spPr/>
      <dgm:t>
        <a:bodyPr/>
        <a:lstStyle/>
        <a:p>
          <a:endParaRPr lang="en-US"/>
        </a:p>
      </dgm:t>
    </dgm:pt>
    <dgm:pt modelId="{8DA02F75-DF44-4AE6-9BE1-55EB4CDED0DB}" type="sibTrans" cxnId="{288C2BCB-9216-4CB9-8FB5-D1AF6ECB6DBF}">
      <dgm:prSet/>
      <dgm:spPr/>
      <dgm:t>
        <a:bodyPr/>
        <a:lstStyle/>
        <a:p>
          <a:endParaRPr lang="en-US"/>
        </a:p>
      </dgm:t>
    </dgm:pt>
    <dgm:pt modelId="{3ABAAE60-AEE4-44A6-A5D1-1BD3803C2E86}">
      <dgm:prSet/>
      <dgm:spPr/>
      <dgm:t>
        <a:bodyPr/>
        <a:lstStyle/>
        <a:p>
          <a:r>
            <a:rPr lang="en-US" b="0" baseline="0"/>
            <a:t>Embraces open source, is technology agnostic, and recognizes that people work in heterogeneous technology environments</a:t>
          </a:r>
          <a:endParaRPr lang="en-US"/>
        </a:p>
      </dgm:t>
    </dgm:pt>
    <dgm:pt modelId="{A8FF05CD-BF7F-4A20-8243-360BE5F05632}" type="parTrans" cxnId="{A1D11F30-59E2-406D-8C46-F77BA3DB427C}">
      <dgm:prSet/>
      <dgm:spPr/>
      <dgm:t>
        <a:bodyPr/>
        <a:lstStyle/>
        <a:p>
          <a:endParaRPr lang="en-US"/>
        </a:p>
      </dgm:t>
    </dgm:pt>
    <dgm:pt modelId="{702A7E71-66A8-45AA-A51F-3DE9EDF2AA19}" type="sibTrans" cxnId="{A1D11F30-59E2-406D-8C46-F77BA3DB427C}">
      <dgm:prSet/>
      <dgm:spPr/>
      <dgm:t>
        <a:bodyPr/>
        <a:lstStyle/>
        <a:p>
          <a:endParaRPr lang="en-US"/>
        </a:p>
      </dgm:t>
    </dgm:pt>
    <dgm:pt modelId="{C45C2DCF-AFF2-4CDE-BF52-F6990DD1DC9C}">
      <dgm:prSet/>
      <dgm:spPr/>
      <dgm:t>
        <a:bodyPr/>
        <a:lstStyle/>
        <a:p>
          <a:r>
            <a:rPr lang="en-US" b="0" baseline="0" dirty="0"/>
            <a:t>Graduates receive a digitally-validated certificate of completion</a:t>
          </a:r>
          <a:endParaRPr lang="en-US" dirty="0"/>
        </a:p>
      </dgm:t>
    </dgm:pt>
    <dgm:pt modelId="{591D80AC-A532-4FB3-8DB1-44060C797E87}" type="parTrans" cxnId="{D42FE06B-917C-4306-97EA-309056CD453F}">
      <dgm:prSet/>
      <dgm:spPr/>
      <dgm:t>
        <a:bodyPr/>
        <a:lstStyle/>
        <a:p>
          <a:endParaRPr lang="en-US"/>
        </a:p>
      </dgm:t>
    </dgm:pt>
    <dgm:pt modelId="{2A3CCA6F-5A89-4A76-968D-9B91B831E84E}" type="sibTrans" cxnId="{D42FE06B-917C-4306-97EA-309056CD453F}">
      <dgm:prSet/>
      <dgm:spPr/>
      <dgm:t>
        <a:bodyPr/>
        <a:lstStyle/>
        <a:p>
          <a:endParaRPr lang="en-US"/>
        </a:p>
      </dgm:t>
    </dgm:pt>
    <dgm:pt modelId="{DC28BDFF-FD83-457A-A0BF-5849C52DF91D}" type="pres">
      <dgm:prSet presAssocID="{C87AEF89-F5BF-44A2-B294-672AFE960533}" presName="vert0" presStyleCnt="0">
        <dgm:presLayoutVars>
          <dgm:dir/>
          <dgm:animOne val="branch"/>
          <dgm:animLvl val="lvl"/>
        </dgm:presLayoutVars>
      </dgm:prSet>
      <dgm:spPr/>
    </dgm:pt>
    <dgm:pt modelId="{3601DD41-3F41-422B-8C30-FCB2740F8E68}" type="pres">
      <dgm:prSet presAssocID="{9048207F-D442-4828-9F7A-607B94A8F46E}" presName="thickLine" presStyleLbl="alignNode1" presStyleIdx="0" presStyleCnt="4"/>
      <dgm:spPr/>
    </dgm:pt>
    <dgm:pt modelId="{A55591EA-5530-4B26-AAA3-E9DA1D7187CA}" type="pres">
      <dgm:prSet presAssocID="{9048207F-D442-4828-9F7A-607B94A8F46E}" presName="horz1" presStyleCnt="0"/>
      <dgm:spPr/>
    </dgm:pt>
    <dgm:pt modelId="{76F758EB-C073-4CEA-BDAD-4FCF223D2723}" type="pres">
      <dgm:prSet presAssocID="{9048207F-D442-4828-9F7A-607B94A8F46E}" presName="tx1" presStyleLbl="revTx" presStyleIdx="0" presStyleCnt="4"/>
      <dgm:spPr/>
    </dgm:pt>
    <dgm:pt modelId="{E3150550-C8DF-4615-A487-719A04B7B066}" type="pres">
      <dgm:prSet presAssocID="{9048207F-D442-4828-9F7A-607B94A8F46E}" presName="vert1" presStyleCnt="0"/>
      <dgm:spPr/>
    </dgm:pt>
    <dgm:pt modelId="{625F6597-F016-4386-8975-46AC3C985D19}" type="pres">
      <dgm:prSet presAssocID="{A9A175F9-AD20-496E-855E-0ABF4D1B5D49}" presName="thickLine" presStyleLbl="alignNode1" presStyleIdx="1" presStyleCnt="4"/>
      <dgm:spPr/>
    </dgm:pt>
    <dgm:pt modelId="{F5AB802A-1641-4A17-85DF-6CDCB305EFC9}" type="pres">
      <dgm:prSet presAssocID="{A9A175F9-AD20-496E-855E-0ABF4D1B5D49}" presName="horz1" presStyleCnt="0"/>
      <dgm:spPr/>
    </dgm:pt>
    <dgm:pt modelId="{37566A7C-196B-4BED-B92F-2A71ADD8F364}" type="pres">
      <dgm:prSet presAssocID="{A9A175F9-AD20-496E-855E-0ABF4D1B5D49}" presName="tx1" presStyleLbl="revTx" presStyleIdx="1" presStyleCnt="4"/>
      <dgm:spPr/>
    </dgm:pt>
    <dgm:pt modelId="{6D52F0CC-B816-441A-A240-36060EE3E44B}" type="pres">
      <dgm:prSet presAssocID="{A9A175F9-AD20-496E-855E-0ABF4D1B5D49}" presName="vert1" presStyleCnt="0"/>
      <dgm:spPr/>
    </dgm:pt>
    <dgm:pt modelId="{14B51B89-E4D7-4D47-A4A5-66A14663B2EB}" type="pres">
      <dgm:prSet presAssocID="{3ABAAE60-AEE4-44A6-A5D1-1BD3803C2E86}" presName="thickLine" presStyleLbl="alignNode1" presStyleIdx="2" presStyleCnt="4"/>
      <dgm:spPr/>
    </dgm:pt>
    <dgm:pt modelId="{24DE08E3-1F49-4938-9ED6-FB8147044321}" type="pres">
      <dgm:prSet presAssocID="{3ABAAE60-AEE4-44A6-A5D1-1BD3803C2E86}" presName="horz1" presStyleCnt="0"/>
      <dgm:spPr/>
    </dgm:pt>
    <dgm:pt modelId="{F085D461-B92B-4538-A3C6-B7C26718ACC7}" type="pres">
      <dgm:prSet presAssocID="{3ABAAE60-AEE4-44A6-A5D1-1BD3803C2E86}" presName="tx1" presStyleLbl="revTx" presStyleIdx="2" presStyleCnt="4"/>
      <dgm:spPr/>
    </dgm:pt>
    <dgm:pt modelId="{861CC379-D64C-414C-875A-4A4785D0ED8B}" type="pres">
      <dgm:prSet presAssocID="{3ABAAE60-AEE4-44A6-A5D1-1BD3803C2E86}" presName="vert1" presStyleCnt="0"/>
      <dgm:spPr/>
    </dgm:pt>
    <dgm:pt modelId="{EB0FF865-2E40-4550-83D6-3D212053D868}" type="pres">
      <dgm:prSet presAssocID="{C45C2DCF-AFF2-4CDE-BF52-F6990DD1DC9C}" presName="thickLine" presStyleLbl="alignNode1" presStyleIdx="3" presStyleCnt="4"/>
      <dgm:spPr/>
    </dgm:pt>
    <dgm:pt modelId="{7511BBAE-EAE1-4C88-ACAD-14C472B0EF1B}" type="pres">
      <dgm:prSet presAssocID="{C45C2DCF-AFF2-4CDE-BF52-F6990DD1DC9C}" presName="horz1" presStyleCnt="0"/>
      <dgm:spPr/>
    </dgm:pt>
    <dgm:pt modelId="{6F74BCE3-E7BD-4AD7-AD43-0EB44294BD52}" type="pres">
      <dgm:prSet presAssocID="{C45C2DCF-AFF2-4CDE-BF52-F6990DD1DC9C}" presName="tx1" presStyleLbl="revTx" presStyleIdx="3" presStyleCnt="4"/>
      <dgm:spPr/>
    </dgm:pt>
    <dgm:pt modelId="{27B14027-0F34-41CE-B73F-F90E73871F50}" type="pres">
      <dgm:prSet presAssocID="{C45C2DCF-AFF2-4CDE-BF52-F6990DD1DC9C}" presName="vert1" presStyleCnt="0"/>
      <dgm:spPr/>
    </dgm:pt>
  </dgm:ptLst>
  <dgm:cxnLst>
    <dgm:cxn modelId="{3A55290C-E8AD-4D54-A4A4-C89C8BEC217D}" type="presOf" srcId="{C45C2DCF-AFF2-4CDE-BF52-F6990DD1DC9C}" destId="{6F74BCE3-E7BD-4AD7-AD43-0EB44294BD52}" srcOrd="0" destOrd="0" presId="urn:microsoft.com/office/officeart/2008/layout/LinedList"/>
    <dgm:cxn modelId="{675DD528-2441-4090-9F2C-DCD486FDA701}" type="presOf" srcId="{C87AEF89-F5BF-44A2-B294-672AFE960533}" destId="{DC28BDFF-FD83-457A-A0BF-5849C52DF91D}" srcOrd="0" destOrd="0" presId="urn:microsoft.com/office/officeart/2008/layout/LinedList"/>
    <dgm:cxn modelId="{A1D11F30-59E2-406D-8C46-F77BA3DB427C}" srcId="{C87AEF89-F5BF-44A2-B294-672AFE960533}" destId="{3ABAAE60-AEE4-44A6-A5D1-1BD3803C2E86}" srcOrd="2" destOrd="0" parTransId="{A8FF05CD-BF7F-4A20-8243-360BE5F05632}" sibTransId="{702A7E71-66A8-45AA-A51F-3DE9EDF2AA19}"/>
    <dgm:cxn modelId="{F7139A32-B569-495C-8292-F818DEEC6D74}" srcId="{C87AEF89-F5BF-44A2-B294-672AFE960533}" destId="{9048207F-D442-4828-9F7A-607B94A8F46E}" srcOrd="0" destOrd="0" parTransId="{3EE3A75A-D4EF-44F1-A83D-7BA9D1C03128}" sibTransId="{6077B941-9B05-4B69-931A-AEFC23AC99FF}"/>
    <dgm:cxn modelId="{D42FE06B-917C-4306-97EA-309056CD453F}" srcId="{C87AEF89-F5BF-44A2-B294-672AFE960533}" destId="{C45C2DCF-AFF2-4CDE-BF52-F6990DD1DC9C}" srcOrd="3" destOrd="0" parTransId="{591D80AC-A532-4FB3-8DB1-44060C797E87}" sibTransId="{2A3CCA6F-5A89-4A76-968D-9B91B831E84E}"/>
    <dgm:cxn modelId="{6BE0E97F-CCFC-44A4-9E51-4700430E56A5}" type="presOf" srcId="{A9A175F9-AD20-496E-855E-0ABF4D1B5D49}" destId="{37566A7C-196B-4BED-B92F-2A71ADD8F364}" srcOrd="0" destOrd="0" presId="urn:microsoft.com/office/officeart/2008/layout/LinedList"/>
    <dgm:cxn modelId="{F58D278E-A498-4781-B1FC-B258A8D6C816}" type="presOf" srcId="{3ABAAE60-AEE4-44A6-A5D1-1BD3803C2E86}" destId="{F085D461-B92B-4538-A3C6-B7C26718ACC7}" srcOrd="0" destOrd="0" presId="urn:microsoft.com/office/officeart/2008/layout/LinedList"/>
    <dgm:cxn modelId="{6580E5C9-09ED-4513-AECD-CCD05030DA55}" type="presOf" srcId="{9048207F-D442-4828-9F7A-607B94A8F46E}" destId="{76F758EB-C073-4CEA-BDAD-4FCF223D2723}" srcOrd="0" destOrd="0" presId="urn:microsoft.com/office/officeart/2008/layout/LinedList"/>
    <dgm:cxn modelId="{288C2BCB-9216-4CB9-8FB5-D1AF6ECB6DBF}" srcId="{C87AEF89-F5BF-44A2-B294-672AFE960533}" destId="{A9A175F9-AD20-496E-855E-0ABF4D1B5D49}" srcOrd="1" destOrd="0" parTransId="{44CB2DF8-CC51-423B-B932-6A1B424E3949}" sibTransId="{8DA02F75-DF44-4AE6-9BE1-55EB4CDED0DB}"/>
    <dgm:cxn modelId="{CF7DFCAB-6F52-4D01-9ED3-42538A9A5B04}" type="presParOf" srcId="{DC28BDFF-FD83-457A-A0BF-5849C52DF91D}" destId="{3601DD41-3F41-422B-8C30-FCB2740F8E68}" srcOrd="0" destOrd="0" presId="urn:microsoft.com/office/officeart/2008/layout/LinedList"/>
    <dgm:cxn modelId="{D994B6DE-A354-4C51-9A14-1C201FBC1F92}" type="presParOf" srcId="{DC28BDFF-FD83-457A-A0BF-5849C52DF91D}" destId="{A55591EA-5530-4B26-AAA3-E9DA1D7187CA}" srcOrd="1" destOrd="0" presId="urn:microsoft.com/office/officeart/2008/layout/LinedList"/>
    <dgm:cxn modelId="{D44AA6A6-49FE-4B2B-8931-D5CFCA9001C7}" type="presParOf" srcId="{A55591EA-5530-4B26-AAA3-E9DA1D7187CA}" destId="{76F758EB-C073-4CEA-BDAD-4FCF223D2723}" srcOrd="0" destOrd="0" presId="urn:microsoft.com/office/officeart/2008/layout/LinedList"/>
    <dgm:cxn modelId="{F240CFF7-7A28-4CFE-847F-CF199D90F28F}" type="presParOf" srcId="{A55591EA-5530-4B26-AAA3-E9DA1D7187CA}" destId="{E3150550-C8DF-4615-A487-719A04B7B066}" srcOrd="1" destOrd="0" presId="urn:microsoft.com/office/officeart/2008/layout/LinedList"/>
    <dgm:cxn modelId="{34902BFB-5A08-4AAB-9E66-3CFF9AA28B40}" type="presParOf" srcId="{DC28BDFF-FD83-457A-A0BF-5849C52DF91D}" destId="{625F6597-F016-4386-8975-46AC3C985D19}" srcOrd="2" destOrd="0" presId="urn:microsoft.com/office/officeart/2008/layout/LinedList"/>
    <dgm:cxn modelId="{0CCBADC8-EF43-4FE8-9F2A-C4FA711748A6}" type="presParOf" srcId="{DC28BDFF-FD83-457A-A0BF-5849C52DF91D}" destId="{F5AB802A-1641-4A17-85DF-6CDCB305EFC9}" srcOrd="3" destOrd="0" presId="urn:microsoft.com/office/officeart/2008/layout/LinedList"/>
    <dgm:cxn modelId="{EF9521C6-9EC5-4055-B5C6-2AA4149DB482}" type="presParOf" srcId="{F5AB802A-1641-4A17-85DF-6CDCB305EFC9}" destId="{37566A7C-196B-4BED-B92F-2A71ADD8F364}" srcOrd="0" destOrd="0" presId="urn:microsoft.com/office/officeart/2008/layout/LinedList"/>
    <dgm:cxn modelId="{EE3A397B-6B29-4FD6-8B02-C35BED3596A7}" type="presParOf" srcId="{F5AB802A-1641-4A17-85DF-6CDCB305EFC9}" destId="{6D52F0CC-B816-441A-A240-36060EE3E44B}" srcOrd="1" destOrd="0" presId="urn:microsoft.com/office/officeart/2008/layout/LinedList"/>
    <dgm:cxn modelId="{003E55D9-F387-4C69-AA1C-1854ABDDCEB7}" type="presParOf" srcId="{DC28BDFF-FD83-457A-A0BF-5849C52DF91D}" destId="{14B51B89-E4D7-4D47-A4A5-66A14663B2EB}" srcOrd="4" destOrd="0" presId="urn:microsoft.com/office/officeart/2008/layout/LinedList"/>
    <dgm:cxn modelId="{D6508133-C99C-4C7E-8D31-41A85AF3E63A}" type="presParOf" srcId="{DC28BDFF-FD83-457A-A0BF-5849C52DF91D}" destId="{24DE08E3-1F49-4938-9ED6-FB8147044321}" srcOrd="5" destOrd="0" presId="urn:microsoft.com/office/officeart/2008/layout/LinedList"/>
    <dgm:cxn modelId="{C174D23C-7A26-409B-815A-4F0D29A24278}" type="presParOf" srcId="{24DE08E3-1F49-4938-9ED6-FB8147044321}" destId="{F085D461-B92B-4538-A3C6-B7C26718ACC7}" srcOrd="0" destOrd="0" presId="urn:microsoft.com/office/officeart/2008/layout/LinedList"/>
    <dgm:cxn modelId="{A2C442AB-7D61-4761-B82B-61C47069A3CA}" type="presParOf" srcId="{24DE08E3-1F49-4938-9ED6-FB8147044321}" destId="{861CC379-D64C-414C-875A-4A4785D0ED8B}" srcOrd="1" destOrd="0" presId="urn:microsoft.com/office/officeart/2008/layout/LinedList"/>
    <dgm:cxn modelId="{625E38D3-10DA-46BC-B664-9128615EBB92}" type="presParOf" srcId="{DC28BDFF-FD83-457A-A0BF-5849C52DF91D}" destId="{EB0FF865-2E40-4550-83D6-3D212053D868}" srcOrd="6" destOrd="0" presId="urn:microsoft.com/office/officeart/2008/layout/LinedList"/>
    <dgm:cxn modelId="{06DB56D8-F7FE-48B3-A830-6DDCCDA97C33}" type="presParOf" srcId="{DC28BDFF-FD83-457A-A0BF-5849C52DF91D}" destId="{7511BBAE-EAE1-4C88-ACAD-14C472B0EF1B}" srcOrd="7" destOrd="0" presId="urn:microsoft.com/office/officeart/2008/layout/LinedList"/>
    <dgm:cxn modelId="{40155CC6-AA1F-4F56-AA36-1F5D8E8D9070}" type="presParOf" srcId="{7511BBAE-EAE1-4C88-ACAD-14C472B0EF1B}" destId="{6F74BCE3-E7BD-4AD7-AD43-0EB44294BD52}" srcOrd="0" destOrd="0" presId="urn:microsoft.com/office/officeart/2008/layout/LinedList"/>
    <dgm:cxn modelId="{6113403D-7739-4DC6-9B0B-2E3AB8BF797E}" type="presParOf" srcId="{7511BBAE-EAE1-4C88-ACAD-14C472B0EF1B}" destId="{27B14027-0F34-41CE-B73F-F90E73871F50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01DD41-3F41-422B-8C30-FCB2740F8E68}">
      <dsp:nvSpPr>
        <dsp:cNvPr id="0" name=""/>
        <dsp:cNvSpPr/>
      </dsp:nvSpPr>
      <dsp:spPr>
        <a:xfrm>
          <a:off x="0" y="0"/>
          <a:ext cx="3693652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F758EB-C073-4CEA-BDAD-4FCF223D2723}">
      <dsp:nvSpPr>
        <dsp:cNvPr id="0" name=""/>
        <dsp:cNvSpPr/>
      </dsp:nvSpPr>
      <dsp:spPr>
        <a:xfrm>
          <a:off x="0" y="0"/>
          <a:ext cx="3693652" cy="14154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baseline="0" dirty="0"/>
            <a:t>A digitally-sharable, resume-worthy credential for students who demonstrate mastery across a skills map</a:t>
          </a:r>
          <a:endParaRPr lang="en-US" sz="1900" kern="1200" dirty="0"/>
        </a:p>
      </dsp:txBody>
      <dsp:txXfrm>
        <a:off x="0" y="0"/>
        <a:ext cx="3693652" cy="1415469"/>
      </dsp:txXfrm>
    </dsp:sp>
    <dsp:sp modelId="{625F6597-F016-4386-8975-46AC3C985D19}">
      <dsp:nvSpPr>
        <dsp:cNvPr id="0" name=""/>
        <dsp:cNvSpPr/>
      </dsp:nvSpPr>
      <dsp:spPr>
        <a:xfrm>
          <a:off x="0" y="1415469"/>
          <a:ext cx="3693652" cy="0"/>
        </a:xfrm>
        <a:prstGeom prst="line">
          <a:avLst/>
        </a:prstGeom>
        <a:solidFill>
          <a:schemeClr val="accent3">
            <a:hueOff val="903533"/>
            <a:satOff val="33333"/>
            <a:lumOff val="-4902"/>
            <a:alphaOff val="0"/>
          </a:schemeClr>
        </a:solidFill>
        <a:ln w="12700" cap="flat" cmpd="sng" algn="ctr">
          <a:solidFill>
            <a:schemeClr val="accent3">
              <a:hueOff val="903533"/>
              <a:satOff val="33333"/>
              <a:lumOff val="-490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566A7C-196B-4BED-B92F-2A71ADD8F364}">
      <dsp:nvSpPr>
        <dsp:cNvPr id="0" name=""/>
        <dsp:cNvSpPr/>
      </dsp:nvSpPr>
      <dsp:spPr>
        <a:xfrm>
          <a:off x="0" y="1415469"/>
          <a:ext cx="3693652" cy="14154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baseline="0" dirty="0"/>
            <a:t>Rigorous curricula with an emphasis on hands-on, real-world problem solving</a:t>
          </a:r>
          <a:endParaRPr lang="en-US" sz="1900" kern="1200" dirty="0"/>
        </a:p>
      </dsp:txBody>
      <dsp:txXfrm>
        <a:off x="0" y="1415469"/>
        <a:ext cx="3693652" cy="1415469"/>
      </dsp:txXfrm>
    </dsp:sp>
    <dsp:sp modelId="{14B51B89-E4D7-4D47-A4A5-66A14663B2EB}">
      <dsp:nvSpPr>
        <dsp:cNvPr id="0" name=""/>
        <dsp:cNvSpPr/>
      </dsp:nvSpPr>
      <dsp:spPr>
        <a:xfrm>
          <a:off x="0" y="2830938"/>
          <a:ext cx="3693652" cy="0"/>
        </a:xfrm>
        <a:prstGeom prst="line">
          <a:avLst/>
        </a:prstGeom>
        <a:solidFill>
          <a:schemeClr val="accent3">
            <a:hueOff val="1807066"/>
            <a:satOff val="66667"/>
            <a:lumOff val="-9804"/>
            <a:alphaOff val="0"/>
          </a:schemeClr>
        </a:solidFill>
        <a:ln w="12700" cap="flat" cmpd="sng" algn="ctr">
          <a:solidFill>
            <a:schemeClr val="accent3">
              <a:hueOff val="1807066"/>
              <a:satOff val="66667"/>
              <a:lumOff val="-980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85D461-B92B-4538-A3C6-B7C26718ACC7}">
      <dsp:nvSpPr>
        <dsp:cNvPr id="0" name=""/>
        <dsp:cNvSpPr/>
      </dsp:nvSpPr>
      <dsp:spPr>
        <a:xfrm>
          <a:off x="0" y="2830938"/>
          <a:ext cx="3693652" cy="14154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baseline="0"/>
            <a:t>Embraces open source, is technology agnostic, and recognizes that people work in heterogeneous technology environments</a:t>
          </a:r>
          <a:endParaRPr lang="en-US" sz="1900" kern="1200"/>
        </a:p>
      </dsp:txBody>
      <dsp:txXfrm>
        <a:off x="0" y="2830938"/>
        <a:ext cx="3693652" cy="1415469"/>
      </dsp:txXfrm>
    </dsp:sp>
    <dsp:sp modelId="{EB0FF865-2E40-4550-83D6-3D212053D868}">
      <dsp:nvSpPr>
        <dsp:cNvPr id="0" name=""/>
        <dsp:cNvSpPr/>
      </dsp:nvSpPr>
      <dsp:spPr>
        <a:xfrm>
          <a:off x="0" y="4246407"/>
          <a:ext cx="3693652" cy="0"/>
        </a:xfrm>
        <a:prstGeom prst="line">
          <a:avLst/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12700" cap="flat" cmpd="sng" algn="ctr">
          <a:solidFill>
            <a:schemeClr val="accent3">
              <a:hueOff val="2710599"/>
              <a:satOff val="100000"/>
              <a:lumOff val="-147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4BCE3-E7BD-4AD7-AD43-0EB44294BD52}">
      <dsp:nvSpPr>
        <dsp:cNvPr id="0" name=""/>
        <dsp:cNvSpPr/>
      </dsp:nvSpPr>
      <dsp:spPr>
        <a:xfrm>
          <a:off x="0" y="4246407"/>
          <a:ext cx="3693652" cy="14154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baseline="0" dirty="0"/>
            <a:t>Graduates receive a digitally-validated certificate of completion</a:t>
          </a:r>
          <a:endParaRPr lang="en-US" sz="1900" kern="1200" dirty="0"/>
        </a:p>
      </dsp:txBody>
      <dsp:txXfrm>
        <a:off x="0" y="4246407"/>
        <a:ext cx="3693652" cy="14154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08D404-BAA3-4D07-8458-40045CEC7EDB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3F5F55-FEB9-4507-9DD2-E3BCEB1369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033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2468563"/>
            <a:ext cx="7680325" cy="4321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Microsoft Confidential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7/2017 8:06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9887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6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emf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emf"/><Relationship Id="rId5" Type="http://schemas.openxmlformats.org/officeDocument/2006/relationships/image" Target="../media/image25.emf"/><Relationship Id="rId4" Type="http://schemas.openxmlformats.org/officeDocument/2006/relationships/image" Target="../media/image2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/>
          <a:srcRect t="7614" b="8039"/>
          <a:stretch/>
        </p:blipFill>
        <p:spPr>
          <a:xfrm>
            <a:off x="0" y="0"/>
            <a:ext cx="12136177" cy="6823557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263885" y="4618989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/>
          </a:p>
        </p:txBody>
      </p:sp>
      <p:sp>
        <p:nvSpPr>
          <p:cNvPr id="11" name="Arrow: Pentagon 10"/>
          <p:cNvSpPr/>
          <p:nvPr userDrawn="1"/>
        </p:nvSpPr>
        <p:spPr>
          <a:xfrm>
            <a:off x="2" y="0"/>
            <a:ext cx="5866410" cy="6823557"/>
          </a:xfrm>
          <a:prstGeom prst="homePlate">
            <a:avLst>
              <a:gd name="adj" fmla="val 18227"/>
            </a:avLst>
          </a:prstGeom>
          <a:solidFill>
            <a:schemeClr val="accent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89642" rIns="89642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6"/>
          </a:p>
        </p:txBody>
      </p:sp>
      <p:sp>
        <p:nvSpPr>
          <p:cNvPr id="17" name="Arrow: Pentagon 16"/>
          <p:cNvSpPr/>
          <p:nvPr userDrawn="1"/>
        </p:nvSpPr>
        <p:spPr>
          <a:xfrm>
            <a:off x="1" y="0"/>
            <a:ext cx="5609057" cy="6858000"/>
          </a:xfrm>
          <a:prstGeom prst="homePlate">
            <a:avLst>
              <a:gd name="adj" fmla="val 18227"/>
            </a:avLst>
          </a:prstGeom>
          <a:solidFill>
            <a:schemeClr val="accent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89642" rIns="89642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6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5" y="1414199"/>
            <a:ext cx="6283123" cy="2286059"/>
          </a:xfrm>
          <a:noFill/>
        </p:spPr>
        <p:txBody>
          <a:bodyPr lIns="146304" tIns="91440" rIns="146304" bIns="0" anchor="t" anchorCtr="0"/>
          <a:lstStyle>
            <a:lvl1pPr marL="0" algn="l" defTabSz="896386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5" y="3716987"/>
            <a:ext cx="6276593" cy="1359524"/>
          </a:xfrm>
        </p:spPr>
        <p:txBody>
          <a:bodyPr tIns="0" bIns="109728">
            <a:noAutofit/>
          </a:bodyPr>
          <a:lstStyle>
            <a:lvl1pPr marL="0" indent="0" algn="l" defTabSz="896386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6791" y="542541"/>
            <a:ext cx="1507180" cy="32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49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tx1">
                    <a:lumMod val="25000"/>
                    <a:lumOff val="75000"/>
                  </a:schemeClr>
                </a:solidFill>
                <a:cs typeface="Segoe UI" pitchFamily="34" charset="0"/>
              </a:rPr>
              <a:t>©</a:t>
            </a:r>
            <a:r>
              <a:rPr lang="en-US" sz="686" baseline="0">
                <a:solidFill>
                  <a:schemeClr val="tx1">
                    <a:lumMod val="25000"/>
                    <a:lumOff val="75000"/>
                  </a:schemeClr>
                </a:solidFill>
                <a:cs typeface="Segoe UI" pitchFamily="34" charset="0"/>
              </a:rPr>
              <a:t> Copyright</a:t>
            </a:r>
            <a:r>
              <a:rPr lang="en-US" sz="686">
                <a:solidFill>
                  <a:schemeClr val="tx1">
                    <a:lumMod val="25000"/>
                    <a:lumOff val="75000"/>
                  </a:schemeClr>
                </a:solidFill>
                <a:cs typeface="Segoe UI" pitchFamily="34" charset="0"/>
              </a:rPr>
              <a:t> Microsoft Corporation. All rights reserved.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64" y="2679587"/>
            <a:ext cx="4074608" cy="149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89140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259A30-BB6B-4AE4-A4A6-A1C67D4A1417}" type="datetimeFigureOut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/05/2017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0166E1-0F1A-4D0A-889B-EBD1D2E879A7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95003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gr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8D6F93-9329-456A-AF3B-0BA4CF8F8A3F}" type="datetimeFigureOut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7/201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9DCF71-5DEB-404C-8221-A9C33B2BA28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2196" y="-355600"/>
            <a:ext cx="10972800" cy="1143000"/>
          </a:xfrm>
        </p:spPr>
        <p:txBody>
          <a:bodyPr anchor="b">
            <a:normAutofit/>
          </a:bodyPr>
          <a:lstStyle>
            <a:lvl1pPr marL="0" algn="l" defTabSz="1218884" rtl="0" eaLnBrk="1" latinLnBrk="0" hangingPunct="1">
              <a:defRPr lang="en-US" sz="3732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121898" tIns="60948" rIns="121898" bIns="60948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8D6F93-9329-456A-AF3B-0BA4CF8F8A3F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7/2017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737601" y="6356353"/>
            <a:ext cx="2844800" cy="365125"/>
          </a:xfrm>
          <a:prstGeom prst="rect">
            <a:avLst/>
          </a:prstGeom>
        </p:spPr>
        <p:txBody>
          <a:bodyPr vert="horz" lIns="121898" tIns="60948" rIns="121898" bIns="609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9DCF71-5DEB-404C-8221-A9C33B2BA28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1"/>
            </p:custDataLst>
          </p:nvPr>
        </p:nvSpPr>
        <p:spPr>
          <a:xfrm>
            <a:off x="0" y="6477001"/>
            <a:ext cx="2032000" cy="391600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8" rIns="121898" bIns="6094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144202" y="6477001"/>
            <a:ext cx="7192399" cy="39160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8" rIns="121898" bIns="6094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9439082" y="6477000"/>
            <a:ext cx="2752919" cy="39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8" rIns="121898" bIns="6094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" y="787400"/>
            <a:ext cx="1219199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1"/>
          <p:cNvSpPr txBox="1">
            <a:spLocks/>
          </p:cNvSpPr>
          <p:nvPr userDrawn="1"/>
        </p:nvSpPr>
        <p:spPr>
          <a:xfrm>
            <a:off x="9347201" y="6487603"/>
            <a:ext cx="7223319" cy="369332"/>
          </a:xfrm>
          <a:prstGeom prst="rect">
            <a:avLst/>
          </a:prstGeom>
        </p:spPr>
        <p:txBody>
          <a:bodyPr vert="horz" lIns="121898" tIns="60948" rIns="121898" bIns="60948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Office 365 Consumption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10567848" y="-15681"/>
            <a:ext cx="811353" cy="803081"/>
            <a:chOff x="6392187" y="-11761"/>
            <a:chExt cx="1305228" cy="1291920"/>
          </a:xfrm>
        </p:grpSpPr>
        <p:sp>
          <p:nvSpPr>
            <p:cNvPr id="39" name="Rectangle 38"/>
            <p:cNvSpPr/>
            <p:nvPr userDrawn="1"/>
          </p:nvSpPr>
          <p:spPr>
            <a:xfrm>
              <a:off x="7087153" y="-11761"/>
              <a:ext cx="610262" cy="6102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39"/>
            <p:cNvSpPr/>
            <p:nvPr userDrawn="1"/>
          </p:nvSpPr>
          <p:spPr>
            <a:xfrm>
              <a:off x="7087153" y="669897"/>
              <a:ext cx="610262" cy="61026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40"/>
            <p:cNvSpPr/>
            <p:nvPr userDrawn="1"/>
          </p:nvSpPr>
          <p:spPr>
            <a:xfrm>
              <a:off x="6392187" y="669897"/>
              <a:ext cx="610262" cy="61026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7" name="Picture 4" descr="C:\Users\kbarrett\Desktop\WW EPGBIF\bpcipimg2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8918" y="15602"/>
            <a:ext cx="773084" cy="771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11988803" y="5977003"/>
            <a:ext cx="184151" cy="3793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8" rIns="121898" bIns="6094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953348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44985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484220"/>
      </p:ext>
    </p:extLst>
  </p:cSld>
  <p:clrMapOvr>
    <a:masterClrMapping/>
  </p:clrMapOvr>
  <p:transition>
    <p:fade/>
  </p:transition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eft,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392" y="99213"/>
            <a:ext cx="5865813" cy="1333500"/>
          </a:xfrm>
          <a:noFill/>
        </p:spPr>
        <p:txBody>
          <a:bodyPr rIns="137160"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28600" y="6553201"/>
            <a:ext cx="5865814" cy="304800"/>
          </a:xfrm>
        </p:spPr>
        <p:txBody>
          <a:bodyPr/>
          <a:lstStyle/>
          <a:p>
            <a:pPr defTabSz="1087660">
              <a:defRPr/>
            </a:pPr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7660">
              <a:defRPr/>
            </a:pPr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660">
                <a:defRPr/>
              </a:pPr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4413" y="0"/>
            <a:ext cx="6097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28601" y="1600200"/>
            <a:ext cx="5408613" cy="4876800"/>
          </a:xfrm>
        </p:spPr>
        <p:txBody>
          <a:bodyPr rIns="13716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6346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5" y="-30047"/>
            <a:ext cx="12192005" cy="6888048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0" y="-30047"/>
            <a:ext cx="12192000" cy="6888048"/>
            <a:chOff x="0" y="-50610"/>
            <a:chExt cx="10972695" cy="6806327"/>
          </a:xfrm>
        </p:grpSpPr>
        <p:sp>
          <p:nvSpPr>
            <p:cNvPr id="30" name="Rectangle 29"/>
            <p:cNvSpPr/>
            <p:nvPr userDrawn="1"/>
          </p:nvSpPr>
          <p:spPr bwMode="auto">
            <a:xfrm flipH="1">
              <a:off x="0" y="296014"/>
              <a:ext cx="10972695" cy="6459702"/>
            </a:xfrm>
            <a:prstGeom prst="rect">
              <a:avLst/>
            </a:prstGeom>
            <a:gradFill flip="none" rotWithShape="1">
              <a:gsLst>
                <a:gs pos="44000">
                  <a:srgbClr val="000000">
                    <a:alpha val="0"/>
                  </a:srgbClr>
                </a:gs>
                <a:gs pos="9000">
                  <a:srgbClr val="000000">
                    <a:alpha val="81000"/>
                  </a:srgbClr>
                </a:gs>
                <a:gs pos="40000">
                  <a:srgbClr val="000000">
                    <a:alpha val="36000"/>
                  </a:srgbClr>
                </a:gs>
              </a:gsLst>
              <a:lin ang="159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1365" tIns="129092" rIns="161365" bIns="1290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0646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76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Rectangle 32"/>
            <p:cNvSpPr/>
            <p:nvPr userDrawn="1"/>
          </p:nvSpPr>
          <p:spPr bwMode="auto">
            <a:xfrm rot="5400000" flipV="1">
              <a:off x="-1572791" y="1522181"/>
              <a:ext cx="6806327" cy="3660746"/>
            </a:xfrm>
            <a:prstGeom prst="rect">
              <a:avLst/>
            </a:prstGeom>
            <a:gradFill flip="none" rotWithShape="1">
              <a:gsLst>
                <a:gs pos="44000">
                  <a:srgbClr val="000000">
                    <a:alpha val="0"/>
                  </a:srgbClr>
                </a:gs>
                <a:gs pos="3000">
                  <a:srgbClr val="000000">
                    <a:alpha val="46000"/>
                  </a:srgbClr>
                </a:gs>
                <a:gs pos="19000">
                  <a:srgbClr val="000000">
                    <a:alpha val="3600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1365" tIns="129092" rIns="161365" bIns="1290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0646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76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3179866" y="3727979"/>
              <a:ext cx="6976556" cy="274970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491528" y="-549195"/>
            <a:ext cx="1597373" cy="342985"/>
            <a:chOff x="468133" y="404930"/>
            <a:chExt cx="1670574" cy="358652"/>
          </a:xfrm>
        </p:grpSpPr>
        <p:pic>
          <p:nvPicPr>
            <p:cNvPr id="65" name="Picture 64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68133" y="404930"/>
              <a:ext cx="358652" cy="358652"/>
            </a:xfrm>
            <a:prstGeom prst="rect">
              <a:avLst/>
            </a:prstGeom>
          </p:spPr>
        </p:pic>
        <p:sp>
          <p:nvSpPr>
            <p:cNvPr id="66" name="Freeform 12"/>
            <p:cNvSpPr>
              <a:spLocks noEditPoints="1"/>
            </p:cNvSpPr>
            <p:nvPr userDrawn="1"/>
          </p:nvSpPr>
          <p:spPr bwMode="black">
            <a:xfrm>
              <a:off x="931559" y="460452"/>
              <a:ext cx="1207148" cy="23623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6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8762" y="3847151"/>
            <a:ext cx="11674476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70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58762" y="5629017"/>
            <a:ext cx="11674476" cy="625555"/>
          </a:xfrm>
        </p:spPr>
        <p:txBody>
          <a:bodyPr lIns="182880"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b="0" baseline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| 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204562"/>
            <a:ext cx="3253743" cy="2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22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_Photo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-9885" y="1"/>
            <a:ext cx="12201885" cy="6857998"/>
            <a:chOff x="-4" y="1"/>
            <a:chExt cx="12446558" cy="6994523"/>
          </a:xfrm>
        </p:grpSpPr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" y="1"/>
              <a:ext cx="12446555" cy="6994523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 userDrawn="1"/>
          </p:nvSpPr>
          <p:spPr bwMode="auto">
            <a:xfrm flipH="1">
              <a:off x="-4" y="1"/>
              <a:ext cx="12446555" cy="6994523"/>
            </a:xfrm>
            <a:prstGeom prst="rect">
              <a:avLst/>
            </a:prstGeom>
            <a:gradFill flip="none" rotWithShape="1">
              <a:gsLst>
                <a:gs pos="60000">
                  <a:srgbClr val="000000">
                    <a:alpha val="0"/>
                  </a:srgbClr>
                </a:gs>
                <a:gs pos="0">
                  <a:srgbClr val="000000">
                    <a:alpha val="66000"/>
                  </a:srgbClr>
                </a:gs>
                <a:gs pos="29000">
                  <a:srgbClr val="000000">
                    <a:alpha val="54000"/>
                  </a:srgbClr>
                </a:gs>
              </a:gsLst>
              <a:lin ang="156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1365" tIns="129092" rIns="161365" bIns="1290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80646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76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1569" y="3847151"/>
            <a:ext cx="11668863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70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008" y="6384517"/>
            <a:ext cx="3253743" cy="2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0120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_Photo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-9883" y="0"/>
            <a:ext cx="12201884" cy="6857999"/>
            <a:chOff x="-10082" y="0"/>
            <a:chExt cx="12446557" cy="6994524"/>
          </a:xfrm>
        </p:grpSpPr>
        <p:pic>
          <p:nvPicPr>
            <p:cNvPr id="12" name="Picture 11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" y="0"/>
              <a:ext cx="12436476" cy="6994524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 userDrawn="1"/>
          </p:nvSpPr>
          <p:spPr bwMode="auto">
            <a:xfrm flipH="1">
              <a:off x="-10082" y="464456"/>
              <a:ext cx="12446555" cy="6530067"/>
            </a:xfrm>
            <a:prstGeom prst="rect">
              <a:avLst/>
            </a:prstGeom>
            <a:gradFill flip="none" rotWithShape="1">
              <a:gsLst>
                <a:gs pos="60000">
                  <a:srgbClr val="000000">
                    <a:alpha val="0"/>
                  </a:srgbClr>
                </a:gs>
                <a:gs pos="0">
                  <a:srgbClr val="000000">
                    <a:alpha val="66000"/>
                  </a:srgbClr>
                </a:gs>
                <a:gs pos="29000">
                  <a:srgbClr val="000000">
                    <a:alpha val="54000"/>
                  </a:srgbClr>
                </a:gs>
              </a:gsLst>
              <a:lin ang="156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1365" tIns="129092" rIns="161365" bIns="1290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80646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76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61569" y="3847151"/>
            <a:ext cx="11668863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70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008" y="6384517"/>
            <a:ext cx="3253743" cy="2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83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Title_Photo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-9893" y="-1"/>
            <a:ext cx="12201889" cy="6858001"/>
            <a:chOff x="-10091" y="-1"/>
            <a:chExt cx="12446562" cy="6994526"/>
          </a:xfrm>
        </p:grpSpPr>
        <p:pic>
          <p:nvPicPr>
            <p:cNvPr id="2" name="Picture 1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/>
            <a:stretch/>
          </p:blipFill>
          <p:spPr>
            <a:xfrm flipH="1">
              <a:off x="-4" y="-1"/>
              <a:ext cx="12436475" cy="6994525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 userDrawn="1"/>
          </p:nvSpPr>
          <p:spPr bwMode="auto">
            <a:xfrm flipH="1">
              <a:off x="-10091" y="169817"/>
              <a:ext cx="12446559" cy="6824708"/>
            </a:xfrm>
            <a:prstGeom prst="rect">
              <a:avLst/>
            </a:prstGeom>
            <a:gradFill flip="none" rotWithShape="1">
              <a:gsLst>
                <a:gs pos="60000">
                  <a:srgbClr val="000000">
                    <a:alpha val="0"/>
                  </a:srgbClr>
                </a:gs>
                <a:gs pos="0">
                  <a:srgbClr val="000000">
                    <a:alpha val="66000"/>
                  </a:srgbClr>
                </a:gs>
                <a:gs pos="29000">
                  <a:srgbClr val="000000">
                    <a:alpha val="54000"/>
                  </a:srgbClr>
                </a:gs>
              </a:gsLst>
              <a:lin ang="156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1365" tIns="129092" rIns="161365" bIns="1290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80646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76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61569" y="3847151"/>
            <a:ext cx="11668863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70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008" y="6384517"/>
            <a:ext cx="3253743" cy="2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31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7"/>
            <a:ext cx="11655840" cy="899665"/>
          </a:xfrm>
        </p:spPr>
        <p:txBody>
          <a:bodyPr/>
          <a:lstStyle>
            <a:lvl1pPr marL="0" algn="l" defTabSz="896218" rtl="0" eaLnBrk="1" latinLnBrk="0" hangingPunct="1">
              <a:spcBef>
                <a:spcPct val="0"/>
              </a:spcBef>
              <a:buNone/>
              <a:defRPr lang="en-US" sz="3921" b="0" i="0" u="none" kern="1200" spc="-147" baseline="0" dirty="0">
                <a:solidFill>
                  <a:schemeClr val="accent5">
                    <a:lumMod val="50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224702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Title_Photo_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-9891" y="-12809"/>
            <a:ext cx="12227124" cy="6870809"/>
            <a:chOff x="-10090" y="-13064"/>
            <a:chExt cx="12472303" cy="7007589"/>
          </a:xfrm>
        </p:grpSpPr>
        <p:pic>
          <p:nvPicPr>
            <p:cNvPr id="2" name="Picture 1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13064"/>
              <a:ext cx="12462213" cy="7007589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 userDrawn="1"/>
          </p:nvSpPr>
          <p:spPr bwMode="auto">
            <a:xfrm flipH="1">
              <a:off x="-10090" y="261257"/>
              <a:ext cx="12472302" cy="6733268"/>
            </a:xfrm>
            <a:prstGeom prst="rect">
              <a:avLst/>
            </a:prstGeom>
            <a:gradFill flip="none" rotWithShape="1">
              <a:gsLst>
                <a:gs pos="52000">
                  <a:srgbClr val="000000">
                    <a:alpha val="0"/>
                  </a:srgbClr>
                </a:gs>
                <a:gs pos="0">
                  <a:srgbClr val="000000">
                    <a:alpha val="66000"/>
                  </a:srgbClr>
                </a:gs>
                <a:gs pos="29000">
                  <a:srgbClr val="000000">
                    <a:alpha val="54000"/>
                  </a:srgbClr>
                </a:gs>
              </a:gsLst>
              <a:lin ang="15600000" scaled="0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1365" tIns="129092" rIns="161365" bIns="1290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0646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76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61569" y="3847151"/>
            <a:ext cx="11668863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70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008" y="6384517"/>
            <a:ext cx="3253743" cy="2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5244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Title_Accent Color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1569" y="3847151"/>
            <a:ext cx="11668863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70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008" y="6384517"/>
            <a:ext cx="3253743" cy="2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991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Title_Accent Color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1569" y="3847151"/>
            <a:ext cx="11668863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70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008" y="6384517"/>
            <a:ext cx="3253743" cy="2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733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Title_Accent Color_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1569" y="3847151"/>
            <a:ext cx="11668863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70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008" y="6384517"/>
            <a:ext cx="3253743" cy="2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258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 lIns="182880"/>
          <a:lstStyle>
            <a:lvl1pPr marL="0" indent="0">
              <a:buNone/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97" y="6392843"/>
            <a:ext cx="3288539" cy="23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80714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_and_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 lIns="182880"/>
          <a:lstStyle>
            <a:lvl1pPr marL="0" indent="0">
              <a:buNone/>
              <a:defRPr lang="en-US" sz="3921" kern="1200" spc="0" baseline="0" dirty="0" smtClean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97" y="6392843"/>
            <a:ext cx="3288539" cy="23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4708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97" y="6392843"/>
            <a:ext cx="3288539" cy="23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42419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97" y="6392843"/>
            <a:ext cx="3288539" cy="23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79800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008" y="6384517"/>
            <a:ext cx="3253743" cy="2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55688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_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388" y="3093594"/>
            <a:ext cx="8668211" cy="616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10254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7"/>
            <a:ext cx="11655840" cy="899665"/>
          </a:xfrm>
        </p:spPr>
        <p:txBody>
          <a:bodyPr/>
          <a:lstStyle>
            <a:lvl1pPr marL="0" algn="l" defTabSz="896218" rtl="0" eaLnBrk="1" latinLnBrk="0" hangingPunct="1">
              <a:spcBef>
                <a:spcPct val="0"/>
              </a:spcBef>
              <a:buNone/>
              <a:defRPr lang="en-US" sz="4313" b="0" i="0" u="none" kern="1200" spc="-147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912887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losing_Slid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388" y="3093594"/>
            <a:ext cx="8668239" cy="616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3860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Hidden_Notes_Slide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185514"/>
            <a:ext cx="12192001" cy="672488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97" y="6392843"/>
            <a:ext cx="3288539" cy="23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248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—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6559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0" y="6316717"/>
            <a:ext cx="12192000" cy="5412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8072" y="0"/>
            <a:ext cx="6233928" cy="6318702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0" y="4088670"/>
            <a:ext cx="4937760" cy="839971"/>
          </a:xfrm>
          <a:prstGeom prst="rect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0" y="1148316"/>
            <a:ext cx="4937760" cy="2945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312738" y="1353952"/>
            <a:ext cx="4304982" cy="196340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f presentation 40pt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304119" y="3536173"/>
            <a:ext cx="4312949" cy="525462"/>
          </a:xfrm>
        </p:spPr>
        <p:txBody>
          <a:bodyPr>
            <a:normAutofit/>
          </a:bodyPr>
          <a:lstStyle>
            <a:lvl1pPr>
              <a:defRPr sz="2000" b="0" i="0" baseline="0"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en-US" dirty="0"/>
              <a:t>Subhead goes here 20pt 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304120" y="4344247"/>
            <a:ext cx="4341031" cy="525462"/>
          </a:xfrm>
        </p:spPr>
        <p:txBody>
          <a:bodyPr>
            <a:normAutofit/>
          </a:bodyPr>
          <a:lstStyle>
            <a:lvl1pPr>
              <a:defRPr sz="2000" b="0" i="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ogram Name 20p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93" y="6513879"/>
            <a:ext cx="2286000" cy="16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1287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7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s 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332904" y="524612"/>
            <a:ext cx="7391011" cy="783191"/>
          </a:xfrm>
        </p:spPr>
        <p:txBody>
          <a:bodyPr>
            <a:normAutofit/>
          </a:bodyPr>
          <a:lstStyle>
            <a:lvl1pPr>
              <a:defRPr sz="3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able of contents</a:t>
            </a:r>
          </a:p>
        </p:txBody>
      </p:sp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93" y="6513879"/>
            <a:ext cx="2286000" cy="162652"/>
          </a:xfrm>
          <a:prstGeom prst="rect">
            <a:avLst/>
          </a:prstGeom>
        </p:spPr>
      </p:pic>
      <p:sp>
        <p:nvSpPr>
          <p:cNvPr id="3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133395" y="64126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9A8FBDD1-998A-4F92-8A4D-AB2536180D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9065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—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93841" y="1385851"/>
            <a:ext cx="5535547" cy="783191"/>
          </a:xfrm>
        </p:spPr>
        <p:txBody>
          <a:bodyPr>
            <a:normAutofit/>
          </a:bodyPr>
          <a:lstStyle>
            <a:lvl1pPr>
              <a:defRPr sz="3500" baseline="0"/>
            </a:lvl1pPr>
          </a:lstStyle>
          <a:p>
            <a:r>
              <a:rPr lang="en-US" dirty="0"/>
              <a:t>Header 35pt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31550" y="2424187"/>
            <a:ext cx="5491733" cy="3285497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spcBef>
                <a:spcPts val="400"/>
              </a:spcBef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Copy 16pt</a:t>
            </a:r>
          </a:p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demonstraverunt</a:t>
            </a:r>
            <a:r>
              <a:rPr lang="en-US" dirty="0"/>
              <a:t> </a:t>
            </a:r>
            <a:r>
              <a:rPr lang="en-US" dirty="0" err="1"/>
              <a:t>lectores</a:t>
            </a:r>
            <a:r>
              <a:rPr lang="en-US" dirty="0"/>
              <a:t> </a:t>
            </a:r>
            <a:r>
              <a:rPr lang="en-US" dirty="0" err="1"/>
              <a:t>legere</a:t>
            </a:r>
            <a:r>
              <a:rPr lang="en-US" dirty="0"/>
              <a:t> me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processus</a:t>
            </a:r>
            <a:r>
              <a:rPr lang="en-US" dirty="0"/>
              <a:t> </a:t>
            </a:r>
            <a:r>
              <a:rPr lang="en-US" dirty="0" err="1"/>
              <a:t>dynamicus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per </a:t>
            </a:r>
            <a:r>
              <a:rPr lang="en-US" dirty="0" err="1"/>
              <a:t>seacula</a:t>
            </a:r>
            <a:r>
              <a:rPr lang="en-US" dirty="0"/>
              <a:t> </a:t>
            </a:r>
            <a:r>
              <a:rPr lang="en-US" dirty="0" err="1"/>
              <a:t>quarta</a:t>
            </a:r>
            <a:r>
              <a:rPr lang="en-US" dirty="0"/>
              <a:t> </a:t>
            </a:r>
            <a:r>
              <a:rPr lang="en-US" dirty="0" err="1"/>
              <a:t>decima</a:t>
            </a:r>
            <a:r>
              <a:rPr lang="en-US" dirty="0"/>
              <a:t>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1772311"/>
            <a:ext cx="5676900" cy="330498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93" y="6534474"/>
            <a:ext cx="2285999" cy="162652"/>
          </a:xfrm>
          <a:prstGeom prst="rect">
            <a:avLst/>
          </a:prstGeom>
        </p:spPr>
      </p:pic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9133395" y="64126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8FBDD1-998A-4F92-8A4D-AB2536180D93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0203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—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101917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5539563"/>
            <a:ext cx="6096000" cy="1318438"/>
          </a:xfrm>
          <a:prstGeom prst="rect">
            <a:avLst/>
          </a:prstGeom>
          <a:gradFill>
            <a:gsLst>
              <a:gs pos="44000">
                <a:srgbClr val="939393">
                  <a:lumMod val="60000"/>
                  <a:lumOff val="40000"/>
                  <a:alpha val="9000"/>
                </a:srgbClr>
              </a:gs>
              <a:gs pos="0">
                <a:schemeClr val="bg1">
                  <a:alpha val="0"/>
                </a:schemeClr>
              </a:gs>
              <a:gs pos="100000">
                <a:schemeClr val="tx2">
                  <a:lumMod val="48000"/>
                  <a:alpha val="49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589520" y="1385851"/>
            <a:ext cx="5186723" cy="783191"/>
          </a:xfrm>
        </p:spPr>
        <p:txBody>
          <a:bodyPr>
            <a:normAutofit/>
          </a:bodyPr>
          <a:lstStyle>
            <a:lvl1pPr>
              <a:defRPr sz="3500" baseline="0"/>
            </a:lvl1pPr>
          </a:lstStyle>
          <a:p>
            <a:r>
              <a:rPr lang="en-US" dirty="0"/>
              <a:t>Header 35pt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627230" y="2424187"/>
            <a:ext cx="5145670" cy="3285497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spcBef>
                <a:spcPts val="400"/>
              </a:spcBef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Copy 16 pts</a:t>
            </a:r>
          </a:p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demonstraverunt</a:t>
            </a:r>
            <a:r>
              <a:rPr lang="en-US" dirty="0"/>
              <a:t> </a:t>
            </a:r>
            <a:r>
              <a:rPr lang="en-US" dirty="0" err="1"/>
              <a:t>lectores</a:t>
            </a:r>
            <a:r>
              <a:rPr lang="en-US" dirty="0"/>
              <a:t> </a:t>
            </a:r>
            <a:r>
              <a:rPr lang="en-US" dirty="0" err="1"/>
              <a:t>legere</a:t>
            </a:r>
            <a:r>
              <a:rPr lang="en-US" dirty="0"/>
              <a:t> me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etiam</a:t>
            </a:r>
            <a:r>
              <a:rPr lang="en-US" dirty="0"/>
              <a:t> </a:t>
            </a:r>
            <a:r>
              <a:rPr lang="en-US" dirty="0" err="1"/>
              <a:t>processus</a:t>
            </a:r>
            <a:r>
              <a:rPr lang="en-US" dirty="0"/>
              <a:t> </a:t>
            </a:r>
            <a:r>
              <a:rPr lang="en-US" dirty="0" err="1"/>
              <a:t>dynamicus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per </a:t>
            </a:r>
            <a:r>
              <a:rPr lang="en-US" dirty="0" err="1"/>
              <a:t>seacula</a:t>
            </a:r>
            <a:r>
              <a:rPr lang="en-US" dirty="0"/>
              <a:t> </a:t>
            </a:r>
            <a:r>
              <a:rPr lang="en-US" dirty="0" err="1"/>
              <a:t>quarta</a:t>
            </a:r>
            <a:r>
              <a:rPr lang="en-US" dirty="0"/>
              <a:t> </a:t>
            </a:r>
            <a:r>
              <a:rPr lang="en-US" dirty="0" err="1"/>
              <a:t>decima</a:t>
            </a:r>
            <a:r>
              <a:rPr lang="en-US" dirty="0"/>
              <a:t>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93" y="6513879"/>
            <a:ext cx="2286000" cy="162652"/>
          </a:xfrm>
          <a:prstGeom prst="rect">
            <a:avLst/>
          </a:prstGeom>
        </p:spPr>
      </p:pic>
      <p:sp>
        <p:nvSpPr>
          <p:cNvPr id="15" name="Slide Number Placeholder 3"/>
          <p:cNvSpPr txBox="1">
            <a:spLocks/>
          </p:cNvSpPr>
          <p:nvPr userDrawn="1"/>
        </p:nvSpPr>
        <p:spPr>
          <a:xfrm>
            <a:off x="9133395" y="64126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8FBDD1-998A-4F92-8A4D-AB2536180D93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4054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—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93842" y="170914"/>
            <a:ext cx="11721246" cy="783191"/>
          </a:xfrm>
        </p:spPr>
        <p:txBody>
          <a:bodyPr>
            <a:normAutofit/>
          </a:bodyPr>
          <a:lstStyle>
            <a:lvl1pPr>
              <a:defRPr sz="3500" baseline="0"/>
            </a:lvl1pPr>
          </a:lstStyle>
          <a:p>
            <a:r>
              <a:rPr lang="en-US" dirty="0"/>
              <a:t>Header 35 pts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9133395" y="64126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8FBDD1-998A-4F92-8A4D-AB2536180D93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0456" y="6324826"/>
            <a:ext cx="4229246" cy="533173"/>
            <a:chOff x="247796" y="6324826"/>
            <a:chExt cx="4229246" cy="533173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7796" y="6324826"/>
              <a:ext cx="1189567" cy="533173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 userDrawn="1"/>
          </p:nvSpPr>
          <p:spPr>
            <a:xfrm>
              <a:off x="1253394" y="6463448"/>
              <a:ext cx="322364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0" i="0" dirty="0">
                  <a:solidFill>
                    <a:schemeClr val="tx1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  <a:t>|</a:t>
              </a:r>
              <a:r>
                <a:rPr lang="en-US" sz="1000" b="0" i="0" baseline="0" dirty="0">
                  <a:solidFill>
                    <a:schemeClr val="tx1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  <a:t>  </a:t>
              </a:r>
              <a:r>
                <a:rPr lang="en-US" sz="1000" b="0" i="0" dirty="0">
                  <a:solidFill>
                    <a:schemeClr val="tx1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  <a:t>Worldwide Readines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95712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96000" y="0"/>
            <a:ext cx="6095999" cy="68659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-1588" y="0"/>
            <a:ext cx="6097588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27"/>
          <p:cNvSpPr>
            <a:spLocks noGrp="1"/>
          </p:cNvSpPr>
          <p:nvPr>
            <p:ph type="body" sz="quarter" idx="17" hasCustomPrompt="1"/>
          </p:nvPr>
        </p:nvSpPr>
        <p:spPr>
          <a:xfrm>
            <a:off x="7527219" y="3914287"/>
            <a:ext cx="4357795" cy="944562"/>
          </a:xfrm>
        </p:spPr>
        <p:txBody>
          <a:bodyPr>
            <a:noAutofit/>
          </a:bodyPr>
          <a:lstStyle>
            <a:lvl1pPr>
              <a:lnSpc>
                <a:spcPts val="202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</p:txBody>
      </p:sp>
      <p:sp>
        <p:nvSpPr>
          <p:cNvPr id="25" name="Text Placeholder 27"/>
          <p:cNvSpPr>
            <a:spLocks noGrp="1"/>
          </p:cNvSpPr>
          <p:nvPr>
            <p:ph type="body" sz="quarter" idx="23" hasCustomPrompt="1"/>
          </p:nvPr>
        </p:nvSpPr>
        <p:spPr>
          <a:xfrm>
            <a:off x="7518800" y="5446032"/>
            <a:ext cx="4362822" cy="944562"/>
          </a:xfrm>
        </p:spPr>
        <p:txBody>
          <a:bodyPr>
            <a:noAutofit/>
          </a:bodyPr>
          <a:lstStyle>
            <a:lvl1pPr>
              <a:lnSpc>
                <a:spcPts val="202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</p:txBody>
      </p:sp>
      <p:sp>
        <p:nvSpPr>
          <p:cNvPr id="27" name="Text Placeholder 27"/>
          <p:cNvSpPr>
            <a:spLocks noGrp="1"/>
          </p:cNvSpPr>
          <p:nvPr>
            <p:ph type="body" sz="quarter" idx="25" hasCustomPrompt="1"/>
          </p:nvPr>
        </p:nvSpPr>
        <p:spPr>
          <a:xfrm>
            <a:off x="7527219" y="2387144"/>
            <a:ext cx="4357795" cy="944562"/>
          </a:xfrm>
        </p:spPr>
        <p:txBody>
          <a:bodyPr>
            <a:noAutofit/>
          </a:bodyPr>
          <a:lstStyle>
            <a:lvl1pPr>
              <a:lnSpc>
                <a:spcPts val="202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0620" y="2037524"/>
            <a:ext cx="828916" cy="891476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7039" y="5135646"/>
            <a:ext cx="755928" cy="954034"/>
          </a:xfrm>
          <a:prstGeom prst="rect">
            <a:avLst/>
          </a:prstGeom>
        </p:spPr>
      </p:pic>
      <p:sp>
        <p:nvSpPr>
          <p:cNvPr id="29" name="Text Placeholder 27"/>
          <p:cNvSpPr>
            <a:spLocks noGrp="1"/>
          </p:cNvSpPr>
          <p:nvPr>
            <p:ph type="body" sz="quarter" idx="28" hasCustomPrompt="1"/>
          </p:nvPr>
        </p:nvSpPr>
        <p:spPr>
          <a:xfrm>
            <a:off x="7518799" y="901252"/>
            <a:ext cx="4357795" cy="944562"/>
          </a:xfrm>
        </p:spPr>
        <p:txBody>
          <a:bodyPr>
            <a:noAutofit/>
          </a:bodyPr>
          <a:lstStyle>
            <a:lvl1pPr>
              <a:lnSpc>
                <a:spcPts val="202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6238" y="3551697"/>
            <a:ext cx="981835" cy="96013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688" y="618962"/>
            <a:ext cx="1054095" cy="754571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7518799" y="491096"/>
            <a:ext cx="43540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at is it?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7518799" y="1984654"/>
            <a:ext cx="43540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siness value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7529604" y="3514177"/>
            <a:ext cx="43540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siness impac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7518799" y="5041923"/>
            <a:ext cx="43540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dienc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423332"/>
            <a:ext cx="6096000" cy="3434668"/>
          </a:xfrm>
          <a:prstGeom prst="rect">
            <a:avLst/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4948" y="4671495"/>
            <a:ext cx="5275734" cy="579235"/>
          </a:xfrm>
        </p:spPr>
        <p:txBody>
          <a:bodyPr anchor="ctr">
            <a:noAutofit/>
          </a:bodyPr>
          <a:lstStyle>
            <a:lvl1pPr marL="0" indent="0">
              <a:lnSpc>
                <a:spcPts val="2400"/>
              </a:lnSpc>
              <a:spcBef>
                <a:spcPts val="400"/>
              </a:spcBef>
              <a:spcAft>
                <a:spcPts val="600"/>
              </a:spcAft>
              <a:buNone/>
              <a:defRPr lang="en-US" sz="2000" b="0" i="0" kern="1200" dirty="0">
                <a:solidFill>
                  <a:schemeClr val="bg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pPr lvl="0"/>
            <a:r>
              <a:rPr lang="en-US" dirty="0"/>
              <a:t>Tagline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29" hasCustomPrompt="1"/>
          </p:nvPr>
        </p:nvSpPr>
        <p:spPr>
          <a:xfrm>
            <a:off x="304948" y="5313107"/>
            <a:ext cx="5275734" cy="526254"/>
          </a:xfrm>
        </p:spPr>
        <p:txBody>
          <a:bodyPr anchor="ctr">
            <a:noAutofit/>
          </a:bodyPr>
          <a:lstStyle>
            <a:lvl1pPr marL="0" indent="0">
              <a:lnSpc>
                <a:spcPts val="2400"/>
              </a:lnSpc>
              <a:spcBef>
                <a:spcPts val="40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URL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304948" y="5901739"/>
            <a:ext cx="5275734" cy="488856"/>
          </a:xfrm>
        </p:spPr>
        <p:txBody>
          <a:bodyPr anchor="ctr">
            <a:noAutofit/>
          </a:bodyPr>
          <a:lstStyle>
            <a:lvl1pPr marL="0" indent="0">
              <a:lnSpc>
                <a:spcPts val="2400"/>
              </a:lnSpc>
              <a:spcBef>
                <a:spcPts val="40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Key Dates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304948" y="3793216"/>
            <a:ext cx="5275734" cy="783191"/>
          </a:xfrm>
        </p:spPr>
        <p:txBody>
          <a:bodyPr>
            <a:normAutofit/>
          </a:bodyPr>
          <a:lstStyle>
            <a:lvl1pPr>
              <a:defRPr sz="3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ogram nam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93" y="6513879"/>
            <a:ext cx="2286000" cy="162652"/>
          </a:xfrm>
          <a:prstGeom prst="rect">
            <a:avLst/>
          </a:prstGeom>
        </p:spPr>
      </p:pic>
      <p:sp>
        <p:nvSpPr>
          <p:cNvPr id="32" name="Slide Number Placeholder 3"/>
          <p:cNvSpPr txBox="1">
            <a:spLocks/>
          </p:cNvSpPr>
          <p:nvPr userDrawn="1"/>
        </p:nvSpPr>
        <p:spPr>
          <a:xfrm>
            <a:off x="9133395" y="64126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8FBDD1-998A-4F92-8A4D-AB2536180D9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2997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ails - 4 bullets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-4853" y="0"/>
            <a:ext cx="457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3734284" y="0"/>
            <a:ext cx="236171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itle 1"/>
          <p:cNvSpPr txBox="1">
            <a:spLocks/>
          </p:cNvSpPr>
          <p:nvPr userDrawn="1"/>
        </p:nvSpPr>
        <p:spPr>
          <a:xfrm>
            <a:off x="6183087" y="5642544"/>
            <a:ext cx="2717075" cy="7831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baseline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98%</a:t>
            </a:r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30" hasCustomPrompt="1"/>
          </p:nvPr>
        </p:nvSpPr>
        <p:spPr>
          <a:xfrm>
            <a:off x="6387018" y="334597"/>
            <a:ext cx="5489577" cy="802377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31" hasCustomPrompt="1"/>
          </p:nvPr>
        </p:nvSpPr>
        <p:spPr>
          <a:xfrm>
            <a:off x="6387018" y="2027208"/>
            <a:ext cx="5489577" cy="802377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32" hasCustomPrompt="1"/>
          </p:nvPr>
        </p:nvSpPr>
        <p:spPr>
          <a:xfrm>
            <a:off x="6387018" y="3719823"/>
            <a:ext cx="5489577" cy="802377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52" name="Text Placeholder 27"/>
          <p:cNvSpPr>
            <a:spLocks noGrp="1"/>
          </p:cNvSpPr>
          <p:nvPr>
            <p:ph type="body" sz="quarter" idx="33" hasCustomPrompt="1"/>
          </p:nvPr>
        </p:nvSpPr>
        <p:spPr>
          <a:xfrm>
            <a:off x="6387018" y="5478425"/>
            <a:ext cx="5489577" cy="802377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56" name="Picture 55"/>
          <p:cNvPicPr preferRelativeResize="0"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5694" y="3994933"/>
            <a:ext cx="490022" cy="317240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8678" y="2225902"/>
            <a:ext cx="338000" cy="436686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8237" y="553519"/>
            <a:ext cx="517512" cy="370459"/>
          </a:xfrm>
          <a:prstGeom prst="rect">
            <a:avLst/>
          </a:prstGeom>
        </p:spPr>
      </p:pic>
      <p:sp>
        <p:nvSpPr>
          <p:cNvPr id="2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4948" y="3286336"/>
            <a:ext cx="3136342" cy="1869138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spcBef>
                <a:spcPts val="400"/>
              </a:spcBef>
              <a:spcAft>
                <a:spcPts val="600"/>
              </a:spcAft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agline</a:t>
            </a:r>
          </a:p>
          <a:p>
            <a:pPr lvl="0"/>
            <a:r>
              <a:rPr lang="en-US" dirty="0"/>
              <a:t>URL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04948" y="2247999"/>
            <a:ext cx="3136342" cy="783191"/>
          </a:xfrm>
        </p:spPr>
        <p:txBody>
          <a:bodyPr>
            <a:normAutofit/>
          </a:bodyPr>
          <a:lstStyle>
            <a:lvl1pPr>
              <a:defRPr sz="3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ogram name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4674483" y="600248"/>
            <a:ext cx="1172846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i="0" kern="1200" dirty="0">
                <a:solidFill>
                  <a:schemeClr val="tx2"/>
                </a:solidFill>
                <a:latin typeface="Segoe UI Semibold" charset="0"/>
                <a:cs typeface="Segoe UI Semibold" charset="0"/>
              </a:rPr>
              <a:t>What is it?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4693096" y="2247999"/>
            <a:ext cx="117284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i="0" kern="1200" dirty="0">
                <a:solidFill>
                  <a:schemeClr val="tx2"/>
                </a:solidFill>
                <a:latin typeface="Segoe UI Semibold" charset="0"/>
                <a:cs typeface="Segoe UI Semibold" charset="0"/>
              </a:rPr>
              <a:t>Goals &amp; objectives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4674483" y="3922720"/>
            <a:ext cx="117284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i="0" kern="1200" dirty="0">
                <a:solidFill>
                  <a:schemeClr val="tx2"/>
                </a:solidFill>
                <a:latin typeface="Segoe UI Semibold" charset="0"/>
                <a:cs typeface="Segoe UI Semibold" charset="0"/>
              </a:rPr>
              <a:t>Learning experience</a:t>
            </a:r>
          </a:p>
        </p:txBody>
      </p:sp>
      <p:sp>
        <p:nvSpPr>
          <p:cNvPr id="53" name="Triangle 42"/>
          <p:cNvSpPr/>
          <p:nvPr userDrawn="1"/>
        </p:nvSpPr>
        <p:spPr>
          <a:xfrm rot="5400000">
            <a:off x="6060816" y="681151"/>
            <a:ext cx="131328" cy="1132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54" name="Triangle 43"/>
          <p:cNvSpPr/>
          <p:nvPr userDrawn="1"/>
        </p:nvSpPr>
        <p:spPr>
          <a:xfrm rot="5400000">
            <a:off x="6060816" y="2345961"/>
            <a:ext cx="131328" cy="1132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55" name="Triangle 42"/>
          <p:cNvSpPr/>
          <p:nvPr userDrawn="1"/>
        </p:nvSpPr>
        <p:spPr>
          <a:xfrm rot="5400000">
            <a:off x="6071811" y="4066940"/>
            <a:ext cx="131328" cy="1132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58" name="Triangle 43"/>
          <p:cNvSpPr/>
          <p:nvPr userDrawn="1"/>
        </p:nvSpPr>
        <p:spPr>
          <a:xfrm rot="5400000">
            <a:off x="6071811" y="5826020"/>
            <a:ext cx="131328" cy="1132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4674483" y="5734968"/>
            <a:ext cx="13370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i="0" kern="1200" dirty="0">
                <a:solidFill>
                  <a:schemeClr val="tx2"/>
                </a:solidFill>
                <a:latin typeface="Segoe UI Semibold" charset="0"/>
                <a:cs typeface="Segoe UI Semibold" charset="0"/>
              </a:rPr>
              <a:t>Anything else?</a:t>
            </a:r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9712" y="5642576"/>
            <a:ext cx="351844" cy="454572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93" y="6513879"/>
            <a:ext cx="2286000" cy="162652"/>
          </a:xfrm>
          <a:prstGeom prst="rect">
            <a:avLst/>
          </a:prstGeom>
        </p:spPr>
      </p:pic>
      <p:sp>
        <p:nvSpPr>
          <p:cNvPr id="39" name="Slide Number Placeholder 3"/>
          <p:cNvSpPr txBox="1">
            <a:spLocks/>
          </p:cNvSpPr>
          <p:nvPr userDrawn="1"/>
        </p:nvSpPr>
        <p:spPr>
          <a:xfrm>
            <a:off x="9133395" y="64126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8FBDD1-998A-4F92-8A4D-AB2536180D93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5796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tail slide-4 bullets-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-4853" y="0"/>
            <a:ext cx="457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83000">
                    <a:schemeClr val="bg1"/>
                  </a:gs>
                  <a:gs pos="100000">
                    <a:schemeClr val="bg1"/>
                  </a:gs>
                </a:gsLst>
                <a:lin ang="5400000" scaled="1"/>
              </a:gra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3734284" y="0"/>
            <a:ext cx="236171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83000">
                    <a:schemeClr val="tx2"/>
                  </a:gs>
                  <a:gs pos="100000">
                    <a:schemeClr val="tx2"/>
                  </a:gs>
                </a:gsLst>
                <a:lin ang="5400000" scaled="1"/>
              </a:gradFill>
            </a:endParaRPr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30" hasCustomPrompt="1"/>
          </p:nvPr>
        </p:nvSpPr>
        <p:spPr>
          <a:xfrm>
            <a:off x="6387018" y="334597"/>
            <a:ext cx="5489577" cy="802377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gradFill>
                  <a:gsLst>
                    <a:gs pos="83000">
                      <a:schemeClr val="tx2"/>
                    </a:gs>
                    <a:gs pos="100000">
                      <a:schemeClr val="tx2"/>
                    </a:gs>
                  </a:gsLst>
                  <a:lin ang="5400000" scaled="1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31" hasCustomPrompt="1"/>
          </p:nvPr>
        </p:nvSpPr>
        <p:spPr>
          <a:xfrm>
            <a:off x="6387018" y="2027208"/>
            <a:ext cx="5489577" cy="802377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gradFill>
                  <a:gsLst>
                    <a:gs pos="83000">
                      <a:schemeClr val="tx2"/>
                    </a:gs>
                    <a:gs pos="100000">
                      <a:schemeClr val="tx2"/>
                    </a:gs>
                  </a:gsLst>
                  <a:lin ang="5400000" scaled="1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32" hasCustomPrompt="1"/>
          </p:nvPr>
        </p:nvSpPr>
        <p:spPr>
          <a:xfrm>
            <a:off x="6387018" y="3719823"/>
            <a:ext cx="5489577" cy="802377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gradFill>
                  <a:gsLst>
                    <a:gs pos="83000">
                      <a:schemeClr val="tx2"/>
                    </a:gs>
                    <a:gs pos="100000">
                      <a:schemeClr val="tx2"/>
                    </a:gs>
                  </a:gsLst>
                  <a:lin ang="5400000" scaled="1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52" name="Text Placeholder 27"/>
          <p:cNvSpPr>
            <a:spLocks noGrp="1"/>
          </p:cNvSpPr>
          <p:nvPr>
            <p:ph type="body" sz="quarter" idx="33" hasCustomPrompt="1"/>
          </p:nvPr>
        </p:nvSpPr>
        <p:spPr>
          <a:xfrm>
            <a:off x="6387018" y="5478425"/>
            <a:ext cx="5489577" cy="802377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gradFill>
                  <a:gsLst>
                    <a:gs pos="83000">
                      <a:schemeClr val="tx2"/>
                    </a:gs>
                    <a:gs pos="100000">
                      <a:schemeClr val="tx2"/>
                    </a:gs>
                  </a:gsLst>
                  <a:lin ang="5400000" scaled="1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2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56" name="Picture 55"/>
          <p:cNvPicPr preferRelativeResize="0"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5694" y="3994933"/>
            <a:ext cx="490022" cy="317240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8678" y="2225902"/>
            <a:ext cx="338000" cy="436686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7064" y="5662508"/>
            <a:ext cx="607283" cy="390154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8237" y="553519"/>
            <a:ext cx="517512" cy="370459"/>
          </a:xfrm>
          <a:prstGeom prst="rect">
            <a:avLst/>
          </a:prstGeom>
        </p:spPr>
      </p:pic>
      <p:sp>
        <p:nvSpPr>
          <p:cNvPr id="36" name="TextBox 35"/>
          <p:cNvSpPr txBox="1"/>
          <p:nvPr userDrawn="1"/>
        </p:nvSpPr>
        <p:spPr>
          <a:xfrm>
            <a:off x="4674483" y="600248"/>
            <a:ext cx="1172846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i="0" kern="1200" dirty="0">
                <a:gradFill>
                  <a:gsLst>
                    <a:gs pos="83000">
                      <a:schemeClr val="tx2"/>
                    </a:gs>
                    <a:gs pos="100000">
                      <a:schemeClr val="tx2"/>
                    </a:gs>
                  </a:gsLst>
                  <a:lin ang="5400000" scaled="1"/>
                </a:gradFill>
                <a:latin typeface="Segoe UI Semibold" charset="0"/>
                <a:cs typeface="Segoe UI Semibold" charset="0"/>
              </a:rPr>
              <a:t>What is it?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4693096" y="2247999"/>
            <a:ext cx="117284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i="0" kern="1200" dirty="0">
                <a:gradFill>
                  <a:gsLst>
                    <a:gs pos="83000">
                      <a:schemeClr val="tx2"/>
                    </a:gs>
                    <a:gs pos="100000">
                      <a:schemeClr val="tx2"/>
                    </a:gs>
                  </a:gsLst>
                  <a:lin ang="5400000" scaled="1"/>
                </a:gradFill>
                <a:latin typeface="Segoe UI Semibold" charset="0"/>
                <a:cs typeface="Segoe UI Semibold" charset="0"/>
              </a:rPr>
              <a:t>Goals &amp; objectives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4674483" y="3922720"/>
            <a:ext cx="117284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i="0" kern="1200" dirty="0">
                <a:gradFill>
                  <a:gsLst>
                    <a:gs pos="83000">
                      <a:schemeClr val="tx2"/>
                    </a:gs>
                    <a:gs pos="100000">
                      <a:schemeClr val="tx2"/>
                    </a:gs>
                  </a:gsLst>
                  <a:lin ang="5400000" scaled="1"/>
                </a:gradFill>
                <a:latin typeface="Segoe UI Semibold" charset="0"/>
                <a:cs typeface="Segoe UI Semibold" charset="0"/>
              </a:rPr>
              <a:t>Learning experience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4661594" y="5645213"/>
            <a:ext cx="1332186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i="0" kern="1200" dirty="0">
                <a:gradFill>
                  <a:gsLst>
                    <a:gs pos="83000">
                      <a:schemeClr val="tx2"/>
                    </a:gs>
                    <a:gs pos="100000">
                      <a:schemeClr val="tx2"/>
                    </a:gs>
                  </a:gsLst>
                  <a:lin ang="5400000" scaled="1"/>
                </a:gradFill>
                <a:latin typeface="Segoe UI Semibold" charset="0"/>
                <a:cs typeface="Segoe UI Semibold" charset="0"/>
              </a:rPr>
              <a:t>What’s new? </a:t>
            </a:r>
          </a:p>
        </p:txBody>
      </p:sp>
      <p:sp>
        <p:nvSpPr>
          <p:cNvPr id="53" name="Triangle 42"/>
          <p:cNvSpPr/>
          <p:nvPr userDrawn="1"/>
        </p:nvSpPr>
        <p:spPr>
          <a:xfrm rot="5400000">
            <a:off x="6060816" y="681151"/>
            <a:ext cx="131328" cy="1132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gradFill>
                <a:gsLst>
                  <a:gs pos="83000">
                    <a:schemeClr val="tx2"/>
                  </a:gs>
                  <a:gs pos="100000">
                    <a:schemeClr val="tx2"/>
                  </a:gs>
                </a:gsLst>
                <a:lin ang="5400000" scaled="1"/>
              </a:gradFill>
            </a:endParaRPr>
          </a:p>
        </p:txBody>
      </p:sp>
      <p:sp>
        <p:nvSpPr>
          <p:cNvPr id="54" name="Triangle 43"/>
          <p:cNvSpPr/>
          <p:nvPr userDrawn="1"/>
        </p:nvSpPr>
        <p:spPr>
          <a:xfrm rot="5400000">
            <a:off x="6060816" y="2345961"/>
            <a:ext cx="131328" cy="1132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gradFill>
                <a:gsLst>
                  <a:gs pos="83000">
                    <a:schemeClr val="tx2"/>
                  </a:gs>
                  <a:gs pos="100000">
                    <a:schemeClr val="tx2"/>
                  </a:gs>
                </a:gsLst>
                <a:lin ang="5400000" scaled="1"/>
              </a:gradFill>
            </a:endParaRPr>
          </a:p>
        </p:txBody>
      </p:sp>
      <p:sp>
        <p:nvSpPr>
          <p:cNvPr id="55" name="Triangle 42"/>
          <p:cNvSpPr/>
          <p:nvPr userDrawn="1"/>
        </p:nvSpPr>
        <p:spPr>
          <a:xfrm rot="5400000">
            <a:off x="6071811" y="4066940"/>
            <a:ext cx="131328" cy="1132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gradFill>
                <a:gsLst>
                  <a:gs pos="83000">
                    <a:schemeClr val="tx2"/>
                  </a:gs>
                  <a:gs pos="100000">
                    <a:schemeClr val="tx2"/>
                  </a:gs>
                </a:gsLst>
                <a:lin ang="5400000" scaled="1"/>
              </a:gradFill>
            </a:endParaRPr>
          </a:p>
        </p:txBody>
      </p:sp>
      <p:sp>
        <p:nvSpPr>
          <p:cNvPr id="58" name="Triangle 43"/>
          <p:cNvSpPr/>
          <p:nvPr userDrawn="1"/>
        </p:nvSpPr>
        <p:spPr>
          <a:xfrm rot="5400000">
            <a:off x="6071811" y="5826020"/>
            <a:ext cx="131328" cy="1132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gradFill>
                <a:gsLst>
                  <a:gs pos="83000">
                    <a:schemeClr val="tx2"/>
                  </a:gs>
                  <a:gs pos="100000">
                    <a:schemeClr val="tx2"/>
                  </a:gs>
                </a:gsLst>
                <a:lin ang="5400000" scaled="1"/>
              </a:gradFill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93" y="6513879"/>
            <a:ext cx="2286000" cy="162652"/>
          </a:xfrm>
          <a:prstGeom prst="rect">
            <a:avLst/>
          </a:prstGeom>
        </p:spPr>
      </p:pic>
      <p:sp>
        <p:nvSpPr>
          <p:cNvPr id="31" name="Slide Number Placeholder 3"/>
          <p:cNvSpPr txBox="1">
            <a:spLocks/>
          </p:cNvSpPr>
          <p:nvPr userDrawn="1"/>
        </p:nvSpPr>
        <p:spPr>
          <a:xfrm>
            <a:off x="9133395" y="64126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8FBDD1-998A-4F92-8A4D-AB2536180D93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4948" y="3286336"/>
            <a:ext cx="3136342" cy="1869138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spcBef>
                <a:spcPts val="400"/>
              </a:spcBef>
              <a:spcAft>
                <a:spcPts val="600"/>
              </a:spcAft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agline</a:t>
            </a:r>
          </a:p>
          <a:p>
            <a:pPr lvl="0"/>
            <a:r>
              <a:rPr lang="en-US" dirty="0"/>
              <a:t>URL</a:t>
            </a:r>
          </a:p>
        </p:txBody>
      </p:sp>
      <p:sp>
        <p:nvSpPr>
          <p:cNvPr id="40" name="Title 1"/>
          <p:cNvSpPr>
            <a:spLocks noGrp="1"/>
          </p:cNvSpPr>
          <p:nvPr>
            <p:ph type="title" hasCustomPrompt="1"/>
          </p:nvPr>
        </p:nvSpPr>
        <p:spPr>
          <a:xfrm>
            <a:off x="304948" y="2247999"/>
            <a:ext cx="3136342" cy="783191"/>
          </a:xfrm>
        </p:spPr>
        <p:txBody>
          <a:bodyPr>
            <a:normAutofit/>
          </a:bodyPr>
          <a:lstStyle>
            <a:lvl1pPr>
              <a:defRPr sz="3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ogram name</a:t>
            </a:r>
          </a:p>
        </p:txBody>
      </p:sp>
    </p:spTree>
    <p:extLst>
      <p:ext uri="{BB962C8B-B14F-4D97-AF65-F5344CB8AC3E}">
        <p14:creationId xmlns:p14="http://schemas.microsoft.com/office/powerpoint/2010/main" val="27752866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7"/>
            <a:ext cx="11655840" cy="806897"/>
          </a:xfrm>
        </p:spPr>
        <p:txBody>
          <a:bodyPr/>
          <a:lstStyle>
            <a:lvl1pPr marL="0" algn="l" defTabSz="896218" rtl="0" eaLnBrk="1" latinLnBrk="0" hangingPunct="1">
              <a:spcBef>
                <a:spcPct val="0"/>
              </a:spcBef>
              <a:buNone/>
              <a:defRPr lang="en-US" sz="3921" b="0" i="0" u="none" kern="1200" spc="-147" baseline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49751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—Grey">
    <p:bg>
      <p:bgPr>
        <a:solidFill>
          <a:srgbClr val="7373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8950" y="3207113"/>
            <a:ext cx="6134100" cy="436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5129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 lIns="182880"/>
          <a:lstStyle>
            <a:lvl1pPr marL="0" indent="0">
              <a:buNone/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29193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84918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6237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2878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9788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3740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7291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6471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422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7"/>
            <a:ext cx="11655840" cy="806897"/>
          </a:xfrm>
        </p:spPr>
        <p:txBody>
          <a:bodyPr/>
          <a:lstStyle>
            <a:lvl1pPr marL="0" algn="l" defTabSz="896218" rtl="0" eaLnBrk="1" latinLnBrk="0" hangingPunct="1">
              <a:spcBef>
                <a:spcPct val="0"/>
              </a:spcBef>
              <a:buNone/>
              <a:defRPr lang="en-US" sz="4313" b="0" i="0" u="none" kern="1200" spc="-147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69240" y="1186958"/>
            <a:ext cx="11655078" cy="603538"/>
          </a:xfrm>
        </p:spPr>
        <p:txBody>
          <a:bodyPr tIns="0" bIns="0"/>
          <a:lstStyle>
            <a:lvl1pPr marL="0" indent="0">
              <a:buNone/>
              <a:defRPr lang="en-US" sz="1961" kern="1200" spc="-29" baseline="0" dirty="0">
                <a:solidFill>
                  <a:srgbClr val="ED6722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marL="0" lvl="0" algn="l" defTabSz="896386" rtl="0" eaLnBrk="1" latinLnBrk="0" hangingPunct="1"/>
            <a:r>
              <a:rPr lang="en-US"/>
              <a:t>Edit Master text styles</a:t>
            </a:r>
          </a:p>
          <a:p>
            <a:pPr marL="0" lvl="0" algn="l" defTabSz="896386" rtl="0" eaLnBrk="1" latinLnBrk="0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10148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9505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8357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7350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8799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17665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125" r="12781" b="7607"/>
          <a:stretch/>
        </p:blipFill>
        <p:spPr>
          <a:xfrm>
            <a:off x="0" y="0"/>
            <a:ext cx="12192001" cy="6857999"/>
          </a:xfrm>
          <a:prstGeom prst="rect">
            <a:avLst/>
          </a:prstGeom>
        </p:spPr>
      </p:pic>
      <p:sp>
        <p:nvSpPr>
          <p:cNvPr id="1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42472" y="5591574"/>
            <a:ext cx="8077956" cy="341441"/>
          </a:xfrm>
        </p:spPr>
        <p:txBody>
          <a:bodyPr lIns="0" tIns="0" rIns="0" bIns="0">
            <a:noAutofit/>
          </a:bodyPr>
          <a:lstStyle>
            <a:lvl1pPr marL="0" indent="0" algn="l" defTabSz="498603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  <a:defRPr lang="en-US" sz="1961" b="0" kern="1200" cap="none" spc="0" baseline="0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Speaker Tit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42458" y="5145499"/>
            <a:ext cx="8077958" cy="267312"/>
          </a:xfrm>
        </p:spPr>
        <p:txBody>
          <a:bodyPr lIns="0" tIns="0" rIns="0" bIns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1636"/>
              </a:spcBef>
              <a:spcAft>
                <a:spcPts val="0"/>
              </a:spcAft>
              <a:buNone/>
              <a:defRPr lang="en-US" sz="2157" b="0" kern="1200" cap="all" spc="98" baseline="0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9982" y="1105053"/>
            <a:ext cx="6498510" cy="3725096"/>
          </a:xfrm>
        </p:spPr>
        <p:txBody>
          <a:bodyPr lIns="0" tIns="0" rIns="0" bIns="0" anchor="ctr" anchorCtr="0">
            <a:noAutofit/>
          </a:bodyPr>
          <a:lstStyle>
            <a:lvl1pPr marL="0" indent="0" algn="l" defTabSz="49860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6470" b="0" kern="1200" cap="none" spc="-98" baseline="0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 smtClean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498603" rtl="0" eaLnBrk="1" latinLnBrk="0" hangingPunct="1">
              <a:lnSpc>
                <a:spcPct val="90000"/>
              </a:lnSpc>
              <a:spcAft>
                <a:spcPts val="409"/>
              </a:spcAft>
              <a:buNone/>
              <a:defRPr lang="en-US" sz="1364" b="1" kern="1200" cap="all" spc="205" dirty="0">
                <a:gradFill>
                  <a:gsLst>
                    <a:gs pos="14159">
                      <a:schemeClr val="tx1"/>
                    </a:gs>
                    <a:gs pos="32000">
                      <a:schemeClr val="tx1"/>
                    </a:gs>
                  </a:gsLst>
                  <a:lin ang="5400000" scaled="1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Headline her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94251" y="5187659"/>
            <a:ext cx="0" cy="997227"/>
          </a:xfrm>
          <a:prstGeom prst="line">
            <a:avLst/>
          </a:prstGeom>
          <a:ln w="190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eeform 5"/>
          <p:cNvSpPr>
            <a:spLocks noChangeAspect="1" noEditPoints="1"/>
          </p:cNvSpPr>
          <p:nvPr userDrawn="1"/>
        </p:nvSpPr>
        <p:spPr bwMode="auto">
          <a:xfrm>
            <a:off x="9994483" y="6036585"/>
            <a:ext cx="1512748" cy="197241"/>
          </a:xfrm>
          <a:custGeom>
            <a:avLst/>
            <a:gdLst>
              <a:gd name="T0" fmla="*/ 22421 w 23638"/>
              <a:gd name="T1" fmla="*/ 1573 h 3074"/>
              <a:gd name="T2" fmla="*/ 23498 w 23638"/>
              <a:gd name="T3" fmla="*/ 1686 h 3074"/>
              <a:gd name="T4" fmla="*/ 22990 w 23638"/>
              <a:gd name="T5" fmla="*/ 737 h 3074"/>
              <a:gd name="T6" fmla="*/ 22928 w 23638"/>
              <a:gd name="T7" fmla="*/ 2377 h 3074"/>
              <a:gd name="T8" fmla="*/ 22381 w 23638"/>
              <a:gd name="T9" fmla="*/ 2808 h 3074"/>
              <a:gd name="T10" fmla="*/ 23638 w 23638"/>
              <a:gd name="T11" fmla="*/ 775 h 3074"/>
              <a:gd name="T12" fmla="*/ 20860 w 23638"/>
              <a:gd name="T13" fmla="*/ 1060 h 3074"/>
              <a:gd name="T14" fmla="*/ 20854 w 23638"/>
              <a:gd name="T15" fmla="*/ 2339 h 3074"/>
              <a:gd name="T16" fmla="*/ 21776 w 23638"/>
              <a:gd name="T17" fmla="*/ 2339 h 3074"/>
              <a:gd name="T18" fmla="*/ 20212 w 23638"/>
              <a:gd name="T19" fmla="*/ 2339 h 3074"/>
              <a:gd name="T20" fmla="*/ 20141 w 23638"/>
              <a:gd name="T21" fmla="*/ 149 h 3074"/>
              <a:gd name="T22" fmla="*/ 20225 w 23638"/>
              <a:gd name="T23" fmla="*/ 346 h 3074"/>
              <a:gd name="T24" fmla="*/ 18545 w 23638"/>
              <a:gd name="T25" fmla="*/ 1060 h 3074"/>
              <a:gd name="T26" fmla="*/ 18539 w 23638"/>
              <a:gd name="T27" fmla="*/ 2339 h 3074"/>
              <a:gd name="T28" fmla="*/ 19461 w 23638"/>
              <a:gd name="T29" fmla="*/ 2339 h 3074"/>
              <a:gd name="T30" fmla="*/ 17518 w 23638"/>
              <a:gd name="T31" fmla="*/ 1122 h 3074"/>
              <a:gd name="T32" fmla="*/ 17512 w 23638"/>
              <a:gd name="T33" fmla="*/ 2339 h 3074"/>
              <a:gd name="T34" fmla="*/ 18113 w 23638"/>
              <a:gd name="T35" fmla="*/ 922 h 3074"/>
              <a:gd name="T36" fmla="*/ 16764 w 23638"/>
              <a:gd name="T37" fmla="*/ 1651 h 3074"/>
              <a:gd name="T38" fmla="*/ 15980 w 23638"/>
              <a:gd name="T39" fmla="*/ 1680 h 3074"/>
              <a:gd name="T40" fmla="*/ 16122 w 23638"/>
              <a:gd name="T41" fmla="*/ 787 h 3074"/>
              <a:gd name="T42" fmla="*/ 16283 w 23638"/>
              <a:gd name="T43" fmla="*/ 1441 h 3074"/>
              <a:gd name="T44" fmla="*/ 16758 w 23638"/>
              <a:gd name="T45" fmla="*/ 2026 h 3074"/>
              <a:gd name="T46" fmla="*/ 14467 w 23638"/>
              <a:gd name="T47" fmla="*/ 1014 h 3074"/>
              <a:gd name="T48" fmla="*/ 15441 w 23638"/>
              <a:gd name="T49" fmla="*/ 1563 h 3074"/>
              <a:gd name="T50" fmla="*/ 14228 w 23638"/>
              <a:gd name="T51" fmla="*/ 1135 h 3074"/>
              <a:gd name="T52" fmla="*/ 15354 w 23638"/>
              <a:gd name="T53" fmla="*/ 2055 h 3074"/>
              <a:gd name="T54" fmla="*/ 13878 w 23638"/>
              <a:gd name="T55" fmla="*/ 2339 h 3074"/>
              <a:gd name="T56" fmla="*/ 12848 w 23638"/>
              <a:gd name="T57" fmla="*/ 2339 h 3074"/>
              <a:gd name="T58" fmla="*/ 11367 w 23638"/>
              <a:gd name="T59" fmla="*/ 1936 h 3074"/>
              <a:gd name="T60" fmla="*/ 11367 w 23638"/>
              <a:gd name="T61" fmla="*/ 322 h 3074"/>
              <a:gd name="T62" fmla="*/ 11226 w 23638"/>
              <a:gd name="T63" fmla="*/ 904 h 3074"/>
              <a:gd name="T64" fmla="*/ 10898 w 23638"/>
              <a:gd name="T65" fmla="*/ 29 h 3074"/>
              <a:gd name="T66" fmla="*/ 10017 w 23638"/>
              <a:gd name="T67" fmla="*/ 775 h 3074"/>
              <a:gd name="T68" fmla="*/ 10438 w 23638"/>
              <a:gd name="T69" fmla="*/ 904 h 3074"/>
              <a:gd name="T70" fmla="*/ 10727 w 23638"/>
              <a:gd name="T71" fmla="*/ 128 h 3074"/>
              <a:gd name="T72" fmla="*/ 9609 w 23638"/>
              <a:gd name="T73" fmla="*/ 2066 h 3074"/>
              <a:gd name="T74" fmla="*/ 9181 w 23638"/>
              <a:gd name="T75" fmla="*/ 866 h 3074"/>
              <a:gd name="T76" fmla="*/ 9187 w 23638"/>
              <a:gd name="T77" fmla="*/ 737 h 3074"/>
              <a:gd name="T78" fmla="*/ 9708 w 23638"/>
              <a:gd name="T79" fmla="*/ 2152 h 3074"/>
              <a:gd name="T80" fmla="*/ 7723 w 23638"/>
              <a:gd name="T81" fmla="*/ 1495 h 3074"/>
              <a:gd name="T82" fmla="*/ 7744 w 23638"/>
              <a:gd name="T83" fmla="*/ 866 h 3074"/>
              <a:gd name="T84" fmla="*/ 7254 w 23638"/>
              <a:gd name="T85" fmla="*/ 1163 h 3074"/>
              <a:gd name="T86" fmla="*/ 7636 w 23638"/>
              <a:gd name="T87" fmla="*/ 2249 h 3074"/>
              <a:gd name="T88" fmla="*/ 6643 w 23638"/>
              <a:gd name="T89" fmla="*/ 1043 h 3074"/>
              <a:gd name="T90" fmla="*/ 5608 w 23638"/>
              <a:gd name="T91" fmla="*/ 1570 h 3074"/>
              <a:gd name="T92" fmla="*/ 6941 w 23638"/>
              <a:gd name="T93" fmla="*/ 1560 h 3074"/>
              <a:gd name="T94" fmla="*/ 5662 w 23638"/>
              <a:gd name="T95" fmla="*/ 2155 h 3074"/>
              <a:gd name="T96" fmla="*/ 4917 w 23638"/>
              <a:gd name="T97" fmla="*/ 843 h 3074"/>
              <a:gd name="T98" fmla="*/ 4604 w 23638"/>
              <a:gd name="T99" fmla="*/ 2339 h 3074"/>
              <a:gd name="T100" fmla="*/ 5177 w 23638"/>
              <a:gd name="T101" fmla="*/ 872 h 3074"/>
              <a:gd name="T102" fmla="*/ 3405 w 23638"/>
              <a:gd name="T103" fmla="*/ 2063 h 3074"/>
              <a:gd name="T104" fmla="*/ 4235 w 23638"/>
              <a:gd name="T105" fmla="*/ 969 h 3074"/>
              <a:gd name="T106" fmla="*/ 3103 w 23638"/>
              <a:gd name="T107" fmla="*/ 1585 h 3074"/>
              <a:gd name="T108" fmla="*/ 4229 w 23638"/>
              <a:gd name="T109" fmla="*/ 2124 h 3074"/>
              <a:gd name="T110" fmla="*/ 2715 w 23638"/>
              <a:gd name="T111" fmla="*/ 775 h 3074"/>
              <a:gd name="T112" fmla="*/ 2563 w 23638"/>
              <a:gd name="T113" fmla="*/ 181 h 3074"/>
              <a:gd name="T114" fmla="*/ 2043 w 23638"/>
              <a:gd name="T115" fmla="*/ 2339 h 3074"/>
              <a:gd name="T116" fmla="*/ 1026 w 23638"/>
              <a:gd name="T117" fmla="*/ 2095 h 3074"/>
              <a:gd name="T118" fmla="*/ 0 w 23638"/>
              <a:gd name="T119" fmla="*/ 2339 h 3074"/>
              <a:gd name="T120" fmla="*/ 220 w 23638"/>
              <a:gd name="T121" fmla="*/ 662 h 3074"/>
              <a:gd name="T122" fmla="*/ 1915 w 23638"/>
              <a:gd name="T123" fmla="*/ 462 h 30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638" h="3074">
                <a:moveTo>
                  <a:pt x="23498" y="1686"/>
                </a:moveTo>
                <a:cubicBezTo>
                  <a:pt x="23498" y="1849"/>
                  <a:pt x="23446" y="1983"/>
                  <a:pt x="23343" y="2090"/>
                </a:cubicBezTo>
                <a:cubicBezTo>
                  <a:pt x="23240" y="2196"/>
                  <a:pt x="23108" y="2249"/>
                  <a:pt x="22946" y="2249"/>
                </a:cubicBezTo>
                <a:cubicBezTo>
                  <a:pt x="22784" y="2249"/>
                  <a:pt x="22656" y="2189"/>
                  <a:pt x="22562" y="2067"/>
                </a:cubicBezTo>
                <a:cubicBezTo>
                  <a:pt x="22468" y="1946"/>
                  <a:pt x="22421" y="1781"/>
                  <a:pt x="22421" y="1573"/>
                </a:cubicBezTo>
                <a:cubicBezTo>
                  <a:pt x="22421" y="1362"/>
                  <a:pt x="22473" y="1191"/>
                  <a:pt x="22578" y="1061"/>
                </a:cubicBezTo>
                <a:cubicBezTo>
                  <a:pt x="22683" y="931"/>
                  <a:pt x="22821" y="866"/>
                  <a:pt x="22994" y="866"/>
                </a:cubicBezTo>
                <a:cubicBezTo>
                  <a:pt x="23138" y="866"/>
                  <a:pt x="23258" y="915"/>
                  <a:pt x="23354" y="1014"/>
                </a:cubicBezTo>
                <a:cubicBezTo>
                  <a:pt x="23450" y="1112"/>
                  <a:pt x="23498" y="1233"/>
                  <a:pt x="23498" y="1376"/>
                </a:cubicBezTo>
                <a:lnTo>
                  <a:pt x="23498" y="1686"/>
                </a:lnTo>
                <a:close/>
                <a:moveTo>
                  <a:pt x="23638" y="775"/>
                </a:moveTo>
                <a:cubicBezTo>
                  <a:pt x="23498" y="775"/>
                  <a:pt x="23498" y="775"/>
                  <a:pt x="23498" y="775"/>
                </a:cubicBezTo>
                <a:cubicBezTo>
                  <a:pt x="23498" y="1023"/>
                  <a:pt x="23498" y="1023"/>
                  <a:pt x="23498" y="1023"/>
                </a:cubicBezTo>
                <a:cubicBezTo>
                  <a:pt x="23491" y="1023"/>
                  <a:pt x="23491" y="1023"/>
                  <a:pt x="23491" y="1023"/>
                </a:cubicBezTo>
                <a:cubicBezTo>
                  <a:pt x="23388" y="832"/>
                  <a:pt x="23221" y="737"/>
                  <a:pt x="22990" y="737"/>
                </a:cubicBezTo>
                <a:cubicBezTo>
                  <a:pt x="22852" y="737"/>
                  <a:pt x="22728" y="773"/>
                  <a:pt x="22618" y="845"/>
                </a:cubicBezTo>
                <a:cubicBezTo>
                  <a:pt x="22508" y="917"/>
                  <a:pt x="22423" y="1017"/>
                  <a:pt x="22364" y="1147"/>
                </a:cubicBezTo>
                <a:cubicBezTo>
                  <a:pt x="22304" y="1276"/>
                  <a:pt x="22274" y="1422"/>
                  <a:pt x="22274" y="1585"/>
                </a:cubicBezTo>
                <a:cubicBezTo>
                  <a:pt x="22274" y="1828"/>
                  <a:pt x="22334" y="2021"/>
                  <a:pt x="22453" y="2164"/>
                </a:cubicBezTo>
                <a:cubicBezTo>
                  <a:pt x="22572" y="2306"/>
                  <a:pt x="22730" y="2377"/>
                  <a:pt x="22928" y="2377"/>
                </a:cubicBezTo>
                <a:cubicBezTo>
                  <a:pt x="23179" y="2377"/>
                  <a:pt x="23367" y="2271"/>
                  <a:pt x="23491" y="2058"/>
                </a:cubicBezTo>
                <a:cubicBezTo>
                  <a:pt x="23498" y="2058"/>
                  <a:pt x="23498" y="2058"/>
                  <a:pt x="23498" y="2058"/>
                </a:cubicBezTo>
                <a:cubicBezTo>
                  <a:pt x="23498" y="2261"/>
                  <a:pt x="23498" y="2261"/>
                  <a:pt x="23498" y="2261"/>
                </a:cubicBezTo>
                <a:cubicBezTo>
                  <a:pt x="23498" y="2718"/>
                  <a:pt x="23282" y="2946"/>
                  <a:pt x="22850" y="2946"/>
                </a:cubicBezTo>
                <a:cubicBezTo>
                  <a:pt x="22702" y="2946"/>
                  <a:pt x="22546" y="2900"/>
                  <a:pt x="22381" y="2808"/>
                </a:cubicBezTo>
                <a:cubicBezTo>
                  <a:pt x="22381" y="2955"/>
                  <a:pt x="22381" y="2955"/>
                  <a:pt x="22381" y="2955"/>
                </a:cubicBezTo>
                <a:cubicBezTo>
                  <a:pt x="22541" y="3034"/>
                  <a:pt x="22696" y="3074"/>
                  <a:pt x="22847" y="3074"/>
                </a:cubicBezTo>
                <a:cubicBezTo>
                  <a:pt x="23121" y="3074"/>
                  <a:pt x="23321" y="3005"/>
                  <a:pt x="23448" y="2868"/>
                </a:cubicBezTo>
                <a:cubicBezTo>
                  <a:pt x="23575" y="2730"/>
                  <a:pt x="23638" y="2515"/>
                  <a:pt x="23638" y="2223"/>
                </a:cubicBezTo>
                <a:lnTo>
                  <a:pt x="23638" y="775"/>
                </a:lnTo>
                <a:close/>
                <a:moveTo>
                  <a:pt x="21917" y="2339"/>
                </a:moveTo>
                <a:cubicBezTo>
                  <a:pt x="21917" y="1388"/>
                  <a:pt x="21917" y="1388"/>
                  <a:pt x="21917" y="1388"/>
                </a:cubicBezTo>
                <a:cubicBezTo>
                  <a:pt x="21917" y="1178"/>
                  <a:pt x="21872" y="1017"/>
                  <a:pt x="21783" y="905"/>
                </a:cubicBezTo>
                <a:cubicBezTo>
                  <a:pt x="21694" y="793"/>
                  <a:pt x="21565" y="737"/>
                  <a:pt x="21394" y="737"/>
                </a:cubicBezTo>
                <a:cubicBezTo>
                  <a:pt x="21152" y="737"/>
                  <a:pt x="20974" y="845"/>
                  <a:pt x="20860" y="1060"/>
                </a:cubicBezTo>
                <a:cubicBezTo>
                  <a:pt x="20854" y="1060"/>
                  <a:pt x="20854" y="1060"/>
                  <a:pt x="20854" y="1060"/>
                </a:cubicBezTo>
                <a:cubicBezTo>
                  <a:pt x="20854" y="775"/>
                  <a:pt x="20854" y="775"/>
                  <a:pt x="20854" y="775"/>
                </a:cubicBezTo>
                <a:cubicBezTo>
                  <a:pt x="20713" y="775"/>
                  <a:pt x="20713" y="775"/>
                  <a:pt x="20713" y="775"/>
                </a:cubicBezTo>
                <a:cubicBezTo>
                  <a:pt x="20713" y="2339"/>
                  <a:pt x="20713" y="2339"/>
                  <a:pt x="20713" y="2339"/>
                </a:cubicBezTo>
                <a:cubicBezTo>
                  <a:pt x="20854" y="2339"/>
                  <a:pt x="20854" y="2339"/>
                  <a:pt x="20854" y="2339"/>
                </a:cubicBezTo>
                <a:cubicBezTo>
                  <a:pt x="20854" y="1441"/>
                  <a:pt x="20854" y="1441"/>
                  <a:pt x="20854" y="1441"/>
                </a:cubicBezTo>
                <a:cubicBezTo>
                  <a:pt x="20854" y="1277"/>
                  <a:pt x="20903" y="1140"/>
                  <a:pt x="21001" y="1030"/>
                </a:cubicBezTo>
                <a:cubicBezTo>
                  <a:pt x="21098" y="921"/>
                  <a:pt x="21221" y="866"/>
                  <a:pt x="21370" y="866"/>
                </a:cubicBezTo>
                <a:cubicBezTo>
                  <a:pt x="21641" y="866"/>
                  <a:pt x="21776" y="1053"/>
                  <a:pt x="21776" y="1429"/>
                </a:cubicBezTo>
                <a:cubicBezTo>
                  <a:pt x="21776" y="2339"/>
                  <a:pt x="21776" y="2339"/>
                  <a:pt x="21776" y="2339"/>
                </a:cubicBezTo>
                <a:lnTo>
                  <a:pt x="21917" y="2339"/>
                </a:lnTo>
                <a:close/>
                <a:moveTo>
                  <a:pt x="20212" y="775"/>
                </a:moveTo>
                <a:cubicBezTo>
                  <a:pt x="20072" y="775"/>
                  <a:pt x="20072" y="775"/>
                  <a:pt x="20072" y="775"/>
                </a:cubicBezTo>
                <a:cubicBezTo>
                  <a:pt x="20072" y="2339"/>
                  <a:pt x="20072" y="2339"/>
                  <a:pt x="20072" y="2339"/>
                </a:cubicBezTo>
                <a:cubicBezTo>
                  <a:pt x="20212" y="2339"/>
                  <a:pt x="20212" y="2339"/>
                  <a:pt x="20212" y="2339"/>
                </a:cubicBezTo>
                <a:lnTo>
                  <a:pt x="20212" y="775"/>
                </a:lnTo>
                <a:close/>
                <a:moveTo>
                  <a:pt x="20225" y="346"/>
                </a:moveTo>
                <a:cubicBezTo>
                  <a:pt x="20248" y="323"/>
                  <a:pt x="20260" y="295"/>
                  <a:pt x="20260" y="262"/>
                </a:cubicBezTo>
                <a:cubicBezTo>
                  <a:pt x="20260" y="228"/>
                  <a:pt x="20248" y="200"/>
                  <a:pt x="20224" y="180"/>
                </a:cubicBezTo>
                <a:cubicBezTo>
                  <a:pt x="20200" y="159"/>
                  <a:pt x="20172" y="149"/>
                  <a:pt x="20141" y="149"/>
                </a:cubicBezTo>
                <a:cubicBezTo>
                  <a:pt x="20111" y="149"/>
                  <a:pt x="20084" y="160"/>
                  <a:pt x="20061" y="181"/>
                </a:cubicBezTo>
                <a:cubicBezTo>
                  <a:pt x="20037" y="201"/>
                  <a:pt x="20025" y="229"/>
                  <a:pt x="20025" y="262"/>
                </a:cubicBezTo>
                <a:cubicBezTo>
                  <a:pt x="20025" y="297"/>
                  <a:pt x="20036" y="325"/>
                  <a:pt x="20060" y="348"/>
                </a:cubicBezTo>
                <a:cubicBezTo>
                  <a:pt x="20083" y="370"/>
                  <a:pt x="20110" y="381"/>
                  <a:pt x="20141" y="381"/>
                </a:cubicBezTo>
                <a:cubicBezTo>
                  <a:pt x="20173" y="381"/>
                  <a:pt x="20201" y="370"/>
                  <a:pt x="20225" y="346"/>
                </a:cubicBezTo>
                <a:moveTo>
                  <a:pt x="19602" y="2339"/>
                </a:moveTo>
                <a:cubicBezTo>
                  <a:pt x="19602" y="1388"/>
                  <a:pt x="19602" y="1388"/>
                  <a:pt x="19602" y="1388"/>
                </a:cubicBezTo>
                <a:cubicBezTo>
                  <a:pt x="19602" y="1178"/>
                  <a:pt x="19557" y="1017"/>
                  <a:pt x="19468" y="905"/>
                </a:cubicBezTo>
                <a:cubicBezTo>
                  <a:pt x="19379" y="793"/>
                  <a:pt x="19249" y="737"/>
                  <a:pt x="19079" y="737"/>
                </a:cubicBezTo>
                <a:cubicBezTo>
                  <a:pt x="18837" y="737"/>
                  <a:pt x="18659" y="845"/>
                  <a:pt x="18545" y="1060"/>
                </a:cubicBezTo>
                <a:cubicBezTo>
                  <a:pt x="18539" y="1060"/>
                  <a:pt x="18539" y="1060"/>
                  <a:pt x="18539" y="1060"/>
                </a:cubicBezTo>
                <a:cubicBezTo>
                  <a:pt x="18539" y="775"/>
                  <a:pt x="18539" y="775"/>
                  <a:pt x="18539" y="775"/>
                </a:cubicBezTo>
                <a:cubicBezTo>
                  <a:pt x="18398" y="775"/>
                  <a:pt x="18398" y="775"/>
                  <a:pt x="18398" y="775"/>
                </a:cubicBezTo>
                <a:cubicBezTo>
                  <a:pt x="18398" y="2339"/>
                  <a:pt x="18398" y="2339"/>
                  <a:pt x="18398" y="2339"/>
                </a:cubicBezTo>
                <a:cubicBezTo>
                  <a:pt x="18539" y="2339"/>
                  <a:pt x="18539" y="2339"/>
                  <a:pt x="18539" y="2339"/>
                </a:cubicBezTo>
                <a:cubicBezTo>
                  <a:pt x="18539" y="1441"/>
                  <a:pt x="18539" y="1441"/>
                  <a:pt x="18539" y="1441"/>
                </a:cubicBezTo>
                <a:cubicBezTo>
                  <a:pt x="18539" y="1277"/>
                  <a:pt x="18587" y="1140"/>
                  <a:pt x="18685" y="1030"/>
                </a:cubicBezTo>
                <a:cubicBezTo>
                  <a:pt x="18783" y="921"/>
                  <a:pt x="18906" y="866"/>
                  <a:pt x="19055" y="866"/>
                </a:cubicBezTo>
                <a:cubicBezTo>
                  <a:pt x="19326" y="866"/>
                  <a:pt x="19461" y="1053"/>
                  <a:pt x="19461" y="1429"/>
                </a:cubicBezTo>
                <a:cubicBezTo>
                  <a:pt x="19461" y="2339"/>
                  <a:pt x="19461" y="2339"/>
                  <a:pt x="19461" y="2339"/>
                </a:cubicBezTo>
                <a:lnTo>
                  <a:pt x="19602" y="2339"/>
                </a:lnTo>
                <a:close/>
                <a:moveTo>
                  <a:pt x="18113" y="772"/>
                </a:moveTo>
                <a:cubicBezTo>
                  <a:pt x="18067" y="754"/>
                  <a:pt x="18015" y="745"/>
                  <a:pt x="17957" y="745"/>
                </a:cubicBezTo>
                <a:cubicBezTo>
                  <a:pt x="17855" y="745"/>
                  <a:pt x="17765" y="778"/>
                  <a:pt x="17688" y="843"/>
                </a:cubicBezTo>
                <a:cubicBezTo>
                  <a:pt x="17611" y="909"/>
                  <a:pt x="17554" y="1002"/>
                  <a:pt x="17518" y="1122"/>
                </a:cubicBezTo>
                <a:cubicBezTo>
                  <a:pt x="17512" y="1122"/>
                  <a:pt x="17512" y="1122"/>
                  <a:pt x="17512" y="1122"/>
                </a:cubicBezTo>
                <a:cubicBezTo>
                  <a:pt x="17512" y="775"/>
                  <a:pt x="17512" y="775"/>
                  <a:pt x="17512" y="775"/>
                </a:cubicBezTo>
                <a:cubicBezTo>
                  <a:pt x="17375" y="775"/>
                  <a:pt x="17375" y="775"/>
                  <a:pt x="17375" y="775"/>
                </a:cubicBezTo>
                <a:cubicBezTo>
                  <a:pt x="17375" y="2339"/>
                  <a:pt x="17375" y="2339"/>
                  <a:pt x="17375" y="2339"/>
                </a:cubicBezTo>
                <a:cubicBezTo>
                  <a:pt x="17512" y="2339"/>
                  <a:pt x="17512" y="2339"/>
                  <a:pt x="17512" y="2339"/>
                </a:cubicBezTo>
                <a:cubicBezTo>
                  <a:pt x="17512" y="1605"/>
                  <a:pt x="17512" y="1605"/>
                  <a:pt x="17512" y="1605"/>
                </a:cubicBezTo>
                <a:cubicBezTo>
                  <a:pt x="17512" y="1458"/>
                  <a:pt x="17531" y="1329"/>
                  <a:pt x="17568" y="1217"/>
                </a:cubicBezTo>
                <a:cubicBezTo>
                  <a:pt x="17605" y="1105"/>
                  <a:pt x="17657" y="1019"/>
                  <a:pt x="17723" y="960"/>
                </a:cubicBezTo>
                <a:cubicBezTo>
                  <a:pt x="17789" y="901"/>
                  <a:pt x="17864" y="872"/>
                  <a:pt x="17948" y="872"/>
                </a:cubicBezTo>
                <a:cubicBezTo>
                  <a:pt x="18010" y="872"/>
                  <a:pt x="18065" y="888"/>
                  <a:pt x="18113" y="922"/>
                </a:cubicBezTo>
                <a:lnTo>
                  <a:pt x="18113" y="772"/>
                </a:lnTo>
                <a:close/>
                <a:moveTo>
                  <a:pt x="15980" y="1680"/>
                </a:moveTo>
                <a:cubicBezTo>
                  <a:pt x="16042" y="1627"/>
                  <a:pt x="16159" y="1587"/>
                  <a:pt x="16333" y="1560"/>
                </a:cubicBezTo>
                <a:cubicBezTo>
                  <a:pt x="16764" y="1498"/>
                  <a:pt x="16764" y="1498"/>
                  <a:pt x="16764" y="1498"/>
                </a:cubicBezTo>
                <a:cubicBezTo>
                  <a:pt x="16764" y="1651"/>
                  <a:pt x="16764" y="1651"/>
                  <a:pt x="16764" y="1651"/>
                </a:cubicBezTo>
                <a:cubicBezTo>
                  <a:pt x="16764" y="1825"/>
                  <a:pt x="16714" y="1968"/>
                  <a:pt x="16615" y="2080"/>
                </a:cubicBezTo>
                <a:cubicBezTo>
                  <a:pt x="16516" y="2193"/>
                  <a:pt x="16390" y="2249"/>
                  <a:pt x="16239" y="2249"/>
                </a:cubicBezTo>
                <a:cubicBezTo>
                  <a:pt x="16132" y="2249"/>
                  <a:pt x="16047" y="2220"/>
                  <a:pt x="15984" y="2163"/>
                </a:cubicBezTo>
                <a:cubicBezTo>
                  <a:pt x="15920" y="2105"/>
                  <a:pt x="15889" y="2028"/>
                  <a:pt x="15889" y="1930"/>
                </a:cubicBezTo>
                <a:cubicBezTo>
                  <a:pt x="15889" y="1817"/>
                  <a:pt x="15920" y="1734"/>
                  <a:pt x="15980" y="1680"/>
                </a:cubicBezTo>
                <a:moveTo>
                  <a:pt x="16904" y="2339"/>
                </a:moveTo>
                <a:cubicBezTo>
                  <a:pt x="16904" y="1322"/>
                  <a:pt x="16904" y="1322"/>
                  <a:pt x="16904" y="1322"/>
                </a:cubicBezTo>
                <a:cubicBezTo>
                  <a:pt x="16904" y="1131"/>
                  <a:pt x="16861" y="985"/>
                  <a:pt x="16773" y="886"/>
                </a:cubicBezTo>
                <a:cubicBezTo>
                  <a:pt x="16686" y="787"/>
                  <a:pt x="16561" y="737"/>
                  <a:pt x="16399" y="737"/>
                </a:cubicBezTo>
                <a:cubicBezTo>
                  <a:pt x="16316" y="737"/>
                  <a:pt x="16224" y="754"/>
                  <a:pt x="16122" y="787"/>
                </a:cubicBezTo>
                <a:cubicBezTo>
                  <a:pt x="16019" y="820"/>
                  <a:pt x="15940" y="859"/>
                  <a:pt x="15883" y="904"/>
                </a:cubicBezTo>
                <a:cubicBezTo>
                  <a:pt x="15883" y="1073"/>
                  <a:pt x="15883" y="1073"/>
                  <a:pt x="15883" y="1073"/>
                </a:cubicBezTo>
                <a:cubicBezTo>
                  <a:pt x="16046" y="935"/>
                  <a:pt x="16213" y="866"/>
                  <a:pt x="16385" y="866"/>
                </a:cubicBezTo>
                <a:cubicBezTo>
                  <a:pt x="16638" y="866"/>
                  <a:pt x="16764" y="1034"/>
                  <a:pt x="16764" y="1370"/>
                </a:cubicBezTo>
                <a:cubicBezTo>
                  <a:pt x="16283" y="1441"/>
                  <a:pt x="16283" y="1441"/>
                  <a:pt x="16283" y="1441"/>
                </a:cubicBezTo>
                <a:cubicBezTo>
                  <a:pt x="15921" y="1497"/>
                  <a:pt x="15741" y="1662"/>
                  <a:pt x="15741" y="1936"/>
                </a:cubicBezTo>
                <a:cubicBezTo>
                  <a:pt x="15741" y="2067"/>
                  <a:pt x="15785" y="2174"/>
                  <a:pt x="15874" y="2255"/>
                </a:cubicBezTo>
                <a:cubicBezTo>
                  <a:pt x="15963" y="2337"/>
                  <a:pt x="16080" y="2377"/>
                  <a:pt x="16223" y="2377"/>
                </a:cubicBezTo>
                <a:cubicBezTo>
                  <a:pt x="16337" y="2377"/>
                  <a:pt x="16442" y="2346"/>
                  <a:pt x="16539" y="2282"/>
                </a:cubicBezTo>
                <a:cubicBezTo>
                  <a:pt x="16635" y="2218"/>
                  <a:pt x="16708" y="2133"/>
                  <a:pt x="16758" y="2026"/>
                </a:cubicBezTo>
                <a:cubicBezTo>
                  <a:pt x="16764" y="2026"/>
                  <a:pt x="16764" y="2026"/>
                  <a:pt x="16764" y="2026"/>
                </a:cubicBezTo>
                <a:cubicBezTo>
                  <a:pt x="16764" y="2339"/>
                  <a:pt x="16764" y="2339"/>
                  <a:pt x="16764" y="2339"/>
                </a:cubicBezTo>
                <a:lnTo>
                  <a:pt x="16904" y="2339"/>
                </a:lnTo>
                <a:close/>
                <a:moveTo>
                  <a:pt x="14290" y="1435"/>
                </a:moveTo>
                <a:cubicBezTo>
                  <a:pt x="14312" y="1253"/>
                  <a:pt x="14371" y="1112"/>
                  <a:pt x="14467" y="1014"/>
                </a:cubicBezTo>
                <a:cubicBezTo>
                  <a:pt x="14563" y="915"/>
                  <a:pt x="14684" y="866"/>
                  <a:pt x="14832" y="866"/>
                </a:cubicBezTo>
                <a:cubicBezTo>
                  <a:pt x="14973" y="866"/>
                  <a:pt x="15083" y="915"/>
                  <a:pt x="15164" y="1014"/>
                </a:cubicBezTo>
                <a:cubicBezTo>
                  <a:pt x="15245" y="1114"/>
                  <a:pt x="15289" y="1254"/>
                  <a:pt x="15295" y="1435"/>
                </a:cubicBezTo>
                <a:lnTo>
                  <a:pt x="14290" y="1435"/>
                </a:lnTo>
                <a:close/>
                <a:moveTo>
                  <a:pt x="15441" y="1563"/>
                </a:moveTo>
                <a:cubicBezTo>
                  <a:pt x="15441" y="1501"/>
                  <a:pt x="15441" y="1501"/>
                  <a:pt x="15441" y="1501"/>
                </a:cubicBezTo>
                <a:cubicBezTo>
                  <a:pt x="15441" y="1261"/>
                  <a:pt x="15388" y="1073"/>
                  <a:pt x="15283" y="939"/>
                </a:cubicBezTo>
                <a:cubicBezTo>
                  <a:pt x="15177" y="804"/>
                  <a:pt x="15028" y="737"/>
                  <a:pt x="14838" y="737"/>
                </a:cubicBezTo>
                <a:cubicBezTo>
                  <a:pt x="14707" y="737"/>
                  <a:pt x="14587" y="772"/>
                  <a:pt x="14480" y="843"/>
                </a:cubicBezTo>
                <a:cubicBezTo>
                  <a:pt x="14373" y="913"/>
                  <a:pt x="14289" y="1010"/>
                  <a:pt x="14228" y="1135"/>
                </a:cubicBezTo>
                <a:cubicBezTo>
                  <a:pt x="14167" y="1260"/>
                  <a:pt x="14137" y="1398"/>
                  <a:pt x="14137" y="1548"/>
                </a:cubicBezTo>
                <a:cubicBezTo>
                  <a:pt x="14137" y="1805"/>
                  <a:pt x="14198" y="2007"/>
                  <a:pt x="14320" y="2155"/>
                </a:cubicBezTo>
                <a:cubicBezTo>
                  <a:pt x="14443" y="2303"/>
                  <a:pt x="14606" y="2377"/>
                  <a:pt x="14812" y="2377"/>
                </a:cubicBezTo>
                <a:cubicBezTo>
                  <a:pt x="15011" y="2377"/>
                  <a:pt x="15192" y="2320"/>
                  <a:pt x="15354" y="2205"/>
                </a:cubicBezTo>
                <a:cubicBezTo>
                  <a:pt x="15354" y="2055"/>
                  <a:pt x="15354" y="2055"/>
                  <a:pt x="15354" y="2055"/>
                </a:cubicBezTo>
                <a:cubicBezTo>
                  <a:pt x="15188" y="2185"/>
                  <a:pt x="15017" y="2249"/>
                  <a:pt x="14841" y="2249"/>
                </a:cubicBezTo>
                <a:cubicBezTo>
                  <a:pt x="14669" y="2249"/>
                  <a:pt x="14533" y="2189"/>
                  <a:pt x="14433" y="2069"/>
                </a:cubicBezTo>
                <a:cubicBezTo>
                  <a:pt x="14334" y="1949"/>
                  <a:pt x="14284" y="1780"/>
                  <a:pt x="14284" y="1563"/>
                </a:cubicBezTo>
                <a:lnTo>
                  <a:pt x="15441" y="1563"/>
                </a:lnTo>
                <a:close/>
                <a:moveTo>
                  <a:pt x="13878" y="2339"/>
                </a:moveTo>
                <a:cubicBezTo>
                  <a:pt x="13878" y="2202"/>
                  <a:pt x="13878" y="2202"/>
                  <a:pt x="13878" y="2202"/>
                </a:cubicBezTo>
                <a:cubicBezTo>
                  <a:pt x="12999" y="2202"/>
                  <a:pt x="12999" y="2202"/>
                  <a:pt x="12999" y="2202"/>
                </a:cubicBezTo>
                <a:cubicBezTo>
                  <a:pt x="12999" y="149"/>
                  <a:pt x="12999" y="149"/>
                  <a:pt x="12999" y="149"/>
                </a:cubicBezTo>
                <a:cubicBezTo>
                  <a:pt x="12848" y="149"/>
                  <a:pt x="12848" y="149"/>
                  <a:pt x="12848" y="149"/>
                </a:cubicBezTo>
                <a:cubicBezTo>
                  <a:pt x="12848" y="2339"/>
                  <a:pt x="12848" y="2339"/>
                  <a:pt x="12848" y="2339"/>
                </a:cubicBezTo>
                <a:lnTo>
                  <a:pt x="13878" y="2339"/>
                </a:lnTo>
                <a:close/>
                <a:moveTo>
                  <a:pt x="11779" y="2187"/>
                </a:moveTo>
                <a:cubicBezTo>
                  <a:pt x="11713" y="2224"/>
                  <a:pt x="11650" y="2243"/>
                  <a:pt x="11591" y="2243"/>
                </a:cubicBezTo>
                <a:cubicBezTo>
                  <a:pt x="11510" y="2243"/>
                  <a:pt x="11452" y="2219"/>
                  <a:pt x="11418" y="2171"/>
                </a:cubicBezTo>
                <a:cubicBezTo>
                  <a:pt x="11384" y="2122"/>
                  <a:pt x="11367" y="2044"/>
                  <a:pt x="11367" y="1936"/>
                </a:cubicBezTo>
                <a:cubicBezTo>
                  <a:pt x="11367" y="904"/>
                  <a:pt x="11367" y="904"/>
                  <a:pt x="11367" y="904"/>
                </a:cubicBezTo>
                <a:cubicBezTo>
                  <a:pt x="11779" y="904"/>
                  <a:pt x="11779" y="904"/>
                  <a:pt x="11779" y="904"/>
                </a:cubicBezTo>
                <a:cubicBezTo>
                  <a:pt x="11779" y="775"/>
                  <a:pt x="11779" y="775"/>
                  <a:pt x="11779" y="775"/>
                </a:cubicBezTo>
                <a:cubicBezTo>
                  <a:pt x="11367" y="775"/>
                  <a:pt x="11367" y="775"/>
                  <a:pt x="11367" y="775"/>
                </a:cubicBezTo>
                <a:cubicBezTo>
                  <a:pt x="11367" y="322"/>
                  <a:pt x="11367" y="322"/>
                  <a:pt x="11367" y="322"/>
                </a:cubicBezTo>
                <a:cubicBezTo>
                  <a:pt x="11226" y="369"/>
                  <a:pt x="11226" y="369"/>
                  <a:pt x="11226" y="369"/>
                </a:cubicBezTo>
                <a:cubicBezTo>
                  <a:pt x="11226" y="775"/>
                  <a:pt x="11226" y="775"/>
                  <a:pt x="11226" y="775"/>
                </a:cubicBezTo>
                <a:cubicBezTo>
                  <a:pt x="10945" y="775"/>
                  <a:pt x="10945" y="775"/>
                  <a:pt x="10945" y="775"/>
                </a:cubicBezTo>
                <a:cubicBezTo>
                  <a:pt x="10945" y="904"/>
                  <a:pt x="10945" y="904"/>
                  <a:pt x="10945" y="904"/>
                </a:cubicBezTo>
                <a:cubicBezTo>
                  <a:pt x="11226" y="904"/>
                  <a:pt x="11226" y="904"/>
                  <a:pt x="11226" y="904"/>
                </a:cubicBezTo>
                <a:cubicBezTo>
                  <a:pt x="11226" y="1954"/>
                  <a:pt x="11226" y="1954"/>
                  <a:pt x="11226" y="1954"/>
                </a:cubicBezTo>
                <a:cubicBezTo>
                  <a:pt x="11226" y="2231"/>
                  <a:pt x="11342" y="2370"/>
                  <a:pt x="11573" y="2370"/>
                </a:cubicBezTo>
                <a:cubicBezTo>
                  <a:pt x="11638" y="2370"/>
                  <a:pt x="11707" y="2353"/>
                  <a:pt x="11779" y="2318"/>
                </a:cubicBezTo>
                <a:lnTo>
                  <a:pt x="11779" y="2187"/>
                </a:lnTo>
                <a:close/>
                <a:moveTo>
                  <a:pt x="10898" y="29"/>
                </a:moveTo>
                <a:cubicBezTo>
                  <a:pt x="10855" y="9"/>
                  <a:pt x="10800" y="0"/>
                  <a:pt x="10733" y="0"/>
                </a:cubicBezTo>
                <a:cubicBezTo>
                  <a:pt x="10603" y="0"/>
                  <a:pt x="10498" y="44"/>
                  <a:pt x="10418" y="133"/>
                </a:cubicBezTo>
                <a:cubicBezTo>
                  <a:pt x="10338" y="222"/>
                  <a:pt x="10298" y="346"/>
                  <a:pt x="10298" y="504"/>
                </a:cubicBezTo>
                <a:cubicBezTo>
                  <a:pt x="10298" y="775"/>
                  <a:pt x="10298" y="775"/>
                  <a:pt x="10298" y="775"/>
                </a:cubicBezTo>
                <a:cubicBezTo>
                  <a:pt x="10017" y="775"/>
                  <a:pt x="10017" y="775"/>
                  <a:pt x="10017" y="775"/>
                </a:cubicBezTo>
                <a:cubicBezTo>
                  <a:pt x="10017" y="904"/>
                  <a:pt x="10017" y="904"/>
                  <a:pt x="10017" y="904"/>
                </a:cubicBezTo>
                <a:cubicBezTo>
                  <a:pt x="10298" y="904"/>
                  <a:pt x="10298" y="904"/>
                  <a:pt x="10298" y="904"/>
                </a:cubicBezTo>
                <a:cubicBezTo>
                  <a:pt x="10298" y="2339"/>
                  <a:pt x="10298" y="2339"/>
                  <a:pt x="10298" y="2339"/>
                </a:cubicBezTo>
                <a:cubicBezTo>
                  <a:pt x="10438" y="2339"/>
                  <a:pt x="10438" y="2339"/>
                  <a:pt x="10438" y="2339"/>
                </a:cubicBezTo>
                <a:cubicBezTo>
                  <a:pt x="10438" y="904"/>
                  <a:pt x="10438" y="904"/>
                  <a:pt x="10438" y="904"/>
                </a:cubicBezTo>
                <a:cubicBezTo>
                  <a:pt x="10852" y="904"/>
                  <a:pt x="10852" y="904"/>
                  <a:pt x="10852" y="904"/>
                </a:cubicBezTo>
                <a:cubicBezTo>
                  <a:pt x="10852" y="775"/>
                  <a:pt x="10852" y="775"/>
                  <a:pt x="10852" y="775"/>
                </a:cubicBezTo>
                <a:cubicBezTo>
                  <a:pt x="10438" y="775"/>
                  <a:pt x="10438" y="775"/>
                  <a:pt x="10438" y="775"/>
                </a:cubicBezTo>
                <a:cubicBezTo>
                  <a:pt x="10438" y="516"/>
                  <a:pt x="10438" y="516"/>
                  <a:pt x="10438" y="516"/>
                </a:cubicBezTo>
                <a:cubicBezTo>
                  <a:pt x="10438" y="257"/>
                  <a:pt x="10534" y="128"/>
                  <a:pt x="10727" y="128"/>
                </a:cubicBezTo>
                <a:cubicBezTo>
                  <a:pt x="10802" y="128"/>
                  <a:pt x="10859" y="143"/>
                  <a:pt x="10898" y="172"/>
                </a:cubicBezTo>
                <a:lnTo>
                  <a:pt x="10898" y="29"/>
                </a:lnTo>
                <a:close/>
                <a:moveTo>
                  <a:pt x="9612" y="1043"/>
                </a:moveTo>
                <a:cubicBezTo>
                  <a:pt x="9713" y="1162"/>
                  <a:pt x="9763" y="1333"/>
                  <a:pt x="9763" y="1557"/>
                </a:cubicBezTo>
                <a:cubicBezTo>
                  <a:pt x="9763" y="1774"/>
                  <a:pt x="9712" y="1944"/>
                  <a:pt x="9609" y="2066"/>
                </a:cubicBezTo>
                <a:cubicBezTo>
                  <a:pt x="9506" y="2188"/>
                  <a:pt x="9362" y="2249"/>
                  <a:pt x="9175" y="2249"/>
                </a:cubicBezTo>
                <a:cubicBezTo>
                  <a:pt x="8993" y="2249"/>
                  <a:pt x="8848" y="2188"/>
                  <a:pt x="8739" y="2064"/>
                </a:cubicBezTo>
                <a:cubicBezTo>
                  <a:pt x="8631" y="1941"/>
                  <a:pt x="8577" y="1776"/>
                  <a:pt x="8577" y="1570"/>
                </a:cubicBezTo>
                <a:cubicBezTo>
                  <a:pt x="8577" y="1350"/>
                  <a:pt x="8631" y="1177"/>
                  <a:pt x="8741" y="1053"/>
                </a:cubicBezTo>
                <a:cubicBezTo>
                  <a:pt x="8850" y="928"/>
                  <a:pt x="8997" y="866"/>
                  <a:pt x="9181" y="866"/>
                </a:cubicBezTo>
                <a:cubicBezTo>
                  <a:pt x="9368" y="866"/>
                  <a:pt x="9511" y="925"/>
                  <a:pt x="9612" y="1043"/>
                </a:cubicBezTo>
                <a:moveTo>
                  <a:pt x="9708" y="2152"/>
                </a:moveTo>
                <a:cubicBezTo>
                  <a:pt x="9843" y="2002"/>
                  <a:pt x="9910" y="1805"/>
                  <a:pt x="9910" y="1560"/>
                </a:cubicBezTo>
                <a:cubicBezTo>
                  <a:pt x="9910" y="1305"/>
                  <a:pt x="9845" y="1104"/>
                  <a:pt x="9716" y="957"/>
                </a:cubicBezTo>
                <a:cubicBezTo>
                  <a:pt x="9587" y="811"/>
                  <a:pt x="9410" y="737"/>
                  <a:pt x="9187" y="737"/>
                </a:cubicBezTo>
                <a:cubicBezTo>
                  <a:pt x="8956" y="737"/>
                  <a:pt x="8772" y="812"/>
                  <a:pt x="8635" y="960"/>
                </a:cubicBezTo>
                <a:cubicBezTo>
                  <a:pt x="8498" y="1109"/>
                  <a:pt x="8430" y="1311"/>
                  <a:pt x="8430" y="1567"/>
                </a:cubicBezTo>
                <a:cubicBezTo>
                  <a:pt x="8430" y="1810"/>
                  <a:pt x="8497" y="2006"/>
                  <a:pt x="8631" y="2155"/>
                </a:cubicBezTo>
                <a:cubicBezTo>
                  <a:pt x="8765" y="2303"/>
                  <a:pt x="8945" y="2377"/>
                  <a:pt x="9171" y="2377"/>
                </a:cubicBezTo>
                <a:cubicBezTo>
                  <a:pt x="9395" y="2377"/>
                  <a:pt x="9574" y="2302"/>
                  <a:pt x="9708" y="2152"/>
                </a:cubicBezTo>
                <a:moveTo>
                  <a:pt x="7625" y="2377"/>
                </a:moveTo>
                <a:cubicBezTo>
                  <a:pt x="7784" y="2377"/>
                  <a:pt x="7911" y="2338"/>
                  <a:pt x="8007" y="2259"/>
                </a:cubicBezTo>
                <a:cubicBezTo>
                  <a:pt x="8103" y="2180"/>
                  <a:pt x="8150" y="2077"/>
                  <a:pt x="8150" y="1948"/>
                </a:cubicBezTo>
                <a:cubicBezTo>
                  <a:pt x="8150" y="1847"/>
                  <a:pt x="8121" y="1764"/>
                  <a:pt x="8062" y="1701"/>
                </a:cubicBezTo>
                <a:cubicBezTo>
                  <a:pt x="8003" y="1638"/>
                  <a:pt x="7890" y="1569"/>
                  <a:pt x="7723" y="1495"/>
                </a:cubicBezTo>
                <a:cubicBezTo>
                  <a:pt x="7636" y="1457"/>
                  <a:pt x="7570" y="1423"/>
                  <a:pt x="7525" y="1392"/>
                </a:cubicBezTo>
                <a:cubicBezTo>
                  <a:pt x="7480" y="1361"/>
                  <a:pt x="7448" y="1328"/>
                  <a:pt x="7429" y="1295"/>
                </a:cubicBezTo>
                <a:cubicBezTo>
                  <a:pt x="7410" y="1261"/>
                  <a:pt x="7401" y="1214"/>
                  <a:pt x="7401" y="1154"/>
                </a:cubicBezTo>
                <a:cubicBezTo>
                  <a:pt x="7401" y="1070"/>
                  <a:pt x="7432" y="1000"/>
                  <a:pt x="7496" y="946"/>
                </a:cubicBezTo>
                <a:cubicBezTo>
                  <a:pt x="7560" y="893"/>
                  <a:pt x="7642" y="866"/>
                  <a:pt x="7744" y="866"/>
                </a:cubicBezTo>
                <a:cubicBezTo>
                  <a:pt x="7867" y="866"/>
                  <a:pt x="7988" y="903"/>
                  <a:pt x="8105" y="979"/>
                </a:cubicBezTo>
                <a:cubicBezTo>
                  <a:pt x="8105" y="820"/>
                  <a:pt x="8105" y="820"/>
                  <a:pt x="8105" y="820"/>
                </a:cubicBezTo>
                <a:cubicBezTo>
                  <a:pt x="8008" y="765"/>
                  <a:pt x="7893" y="737"/>
                  <a:pt x="7759" y="737"/>
                </a:cubicBezTo>
                <a:cubicBezTo>
                  <a:pt x="7615" y="737"/>
                  <a:pt x="7495" y="777"/>
                  <a:pt x="7398" y="857"/>
                </a:cubicBezTo>
                <a:cubicBezTo>
                  <a:pt x="7302" y="937"/>
                  <a:pt x="7254" y="1039"/>
                  <a:pt x="7254" y="1163"/>
                </a:cubicBezTo>
                <a:cubicBezTo>
                  <a:pt x="7254" y="1270"/>
                  <a:pt x="7286" y="1358"/>
                  <a:pt x="7351" y="1427"/>
                </a:cubicBezTo>
                <a:cubicBezTo>
                  <a:pt x="7416" y="1496"/>
                  <a:pt x="7519" y="1560"/>
                  <a:pt x="7660" y="1620"/>
                </a:cubicBezTo>
                <a:cubicBezTo>
                  <a:pt x="7790" y="1677"/>
                  <a:pt x="7880" y="1730"/>
                  <a:pt x="7930" y="1778"/>
                </a:cubicBezTo>
                <a:cubicBezTo>
                  <a:pt x="7979" y="1826"/>
                  <a:pt x="8004" y="1883"/>
                  <a:pt x="8004" y="1948"/>
                </a:cubicBezTo>
                <a:cubicBezTo>
                  <a:pt x="8004" y="2149"/>
                  <a:pt x="7881" y="2249"/>
                  <a:pt x="7636" y="2249"/>
                </a:cubicBezTo>
                <a:cubicBezTo>
                  <a:pt x="7578" y="2249"/>
                  <a:pt x="7510" y="2235"/>
                  <a:pt x="7433" y="2206"/>
                </a:cubicBezTo>
                <a:cubicBezTo>
                  <a:pt x="7357" y="2177"/>
                  <a:pt x="7295" y="2142"/>
                  <a:pt x="7248" y="2101"/>
                </a:cubicBezTo>
                <a:cubicBezTo>
                  <a:pt x="7248" y="2271"/>
                  <a:pt x="7248" y="2271"/>
                  <a:pt x="7248" y="2271"/>
                </a:cubicBezTo>
                <a:cubicBezTo>
                  <a:pt x="7348" y="2342"/>
                  <a:pt x="7473" y="2377"/>
                  <a:pt x="7625" y="2377"/>
                </a:cubicBezTo>
                <a:moveTo>
                  <a:pt x="6643" y="1043"/>
                </a:moveTo>
                <a:cubicBezTo>
                  <a:pt x="6744" y="1162"/>
                  <a:pt x="6794" y="1333"/>
                  <a:pt x="6794" y="1557"/>
                </a:cubicBezTo>
                <a:cubicBezTo>
                  <a:pt x="6794" y="1774"/>
                  <a:pt x="6743" y="1944"/>
                  <a:pt x="6640" y="2066"/>
                </a:cubicBezTo>
                <a:cubicBezTo>
                  <a:pt x="6537" y="2188"/>
                  <a:pt x="6393" y="2249"/>
                  <a:pt x="6206" y="2249"/>
                </a:cubicBezTo>
                <a:cubicBezTo>
                  <a:pt x="6024" y="2249"/>
                  <a:pt x="5879" y="2188"/>
                  <a:pt x="5770" y="2064"/>
                </a:cubicBezTo>
                <a:cubicBezTo>
                  <a:pt x="5662" y="1941"/>
                  <a:pt x="5608" y="1776"/>
                  <a:pt x="5608" y="1570"/>
                </a:cubicBezTo>
                <a:cubicBezTo>
                  <a:pt x="5608" y="1350"/>
                  <a:pt x="5662" y="1177"/>
                  <a:pt x="5772" y="1053"/>
                </a:cubicBezTo>
                <a:cubicBezTo>
                  <a:pt x="5881" y="928"/>
                  <a:pt x="6028" y="866"/>
                  <a:pt x="6212" y="866"/>
                </a:cubicBezTo>
                <a:cubicBezTo>
                  <a:pt x="6399" y="866"/>
                  <a:pt x="6542" y="925"/>
                  <a:pt x="6643" y="1043"/>
                </a:cubicBezTo>
                <a:moveTo>
                  <a:pt x="6739" y="2152"/>
                </a:moveTo>
                <a:cubicBezTo>
                  <a:pt x="6874" y="2002"/>
                  <a:pt x="6941" y="1805"/>
                  <a:pt x="6941" y="1560"/>
                </a:cubicBezTo>
                <a:cubicBezTo>
                  <a:pt x="6941" y="1305"/>
                  <a:pt x="6876" y="1104"/>
                  <a:pt x="6747" y="957"/>
                </a:cubicBezTo>
                <a:cubicBezTo>
                  <a:pt x="6618" y="811"/>
                  <a:pt x="6442" y="737"/>
                  <a:pt x="6219" y="737"/>
                </a:cubicBezTo>
                <a:cubicBezTo>
                  <a:pt x="5987" y="737"/>
                  <a:pt x="5803" y="812"/>
                  <a:pt x="5666" y="960"/>
                </a:cubicBezTo>
                <a:cubicBezTo>
                  <a:pt x="5530" y="1109"/>
                  <a:pt x="5461" y="1311"/>
                  <a:pt x="5461" y="1567"/>
                </a:cubicBezTo>
                <a:cubicBezTo>
                  <a:pt x="5461" y="1810"/>
                  <a:pt x="5528" y="2006"/>
                  <a:pt x="5662" y="2155"/>
                </a:cubicBezTo>
                <a:cubicBezTo>
                  <a:pt x="5796" y="2303"/>
                  <a:pt x="5976" y="2377"/>
                  <a:pt x="6202" y="2377"/>
                </a:cubicBezTo>
                <a:cubicBezTo>
                  <a:pt x="6426" y="2377"/>
                  <a:pt x="6605" y="2302"/>
                  <a:pt x="6739" y="2152"/>
                </a:cubicBezTo>
                <a:moveTo>
                  <a:pt x="5342" y="772"/>
                </a:moveTo>
                <a:cubicBezTo>
                  <a:pt x="5296" y="754"/>
                  <a:pt x="5244" y="745"/>
                  <a:pt x="5186" y="745"/>
                </a:cubicBezTo>
                <a:cubicBezTo>
                  <a:pt x="5084" y="745"/>
                  <a:pt x="4995" y="778"/>
                  <a:pt x="4917" y="843"/>
                </a:cubicBezTo>
                <a:cubicBezTo>
                  <a:pt x="4840" y="909"/>
                  <a:pt x="4783" y="1002"/>
                  <a:pt x="4748" y="1122"/>
                </a:cubicBezTo>
                <a:cubicBezTo>
                  <a:pt x="4742" y="1122"/>
                  <a:pt x="4742" y="1122"/>
                  <a:pt x="4742" y="1122"/>
                </a:cubicBezTo>
                <a:cubicBezTo>
                  <a:pt x="4742" y="775"/>
                  <a:pt x="4742" y="775"/>
                  <a:pt x="4742" y="775"/>
                </a:cubicBezTo>
                <a:cubicBezTo>
                  <a:pt x="4604" y="775"/>
                  <a:pt x="4604" y="775"/>
                  <a:pt x="4604" y="775"/>
                </a:cubicBezTo>
                <a:cubicBezTo>
                  <a:pt x="4604" y="2339"/>
                  <a:pt x="4604" y="2339"/>
                  <a:pt x="4604" y="2339"/>
                </a:cubicBezTo>
                <a:cubicBezTo>
                  <a:pt x="4742" y="2339"/>
                  <a:pt x="4742" y="2339"/>
                  <a:pt x="4742" y="2339"/>
                </a:cubicBezTo>
                <a:cubicBezTo>
                  <a:pt x="4742" y="1605"/>
                  <a:pt x="4742" y="1605"/>
                  <a:pt x="4742" y="1605"/>
                </a:cubicBezTo>
                <a:cubicBezTo>
                  <a:pt x="4742" y="1458"/>
                  <a:pt x="4760" y="1329"/>
                  <a:pt x="4798" y="1217"/>
                </a:cubicBezTo>
                <a:cubicBezTo>
                  <a:pt x="4835" y="1105"/>
                  <a:pt x="4886" y="1019"/>
                  <a:pt x="4952" y="960"/>
                </a:cubicBezTo>
                <a:cubicBezTo>
                  <a:pt x="5019" y="901"/>
                  <a:pt x="5093" y="872"/>
                  <a:pt x="5177" y="872"/>
                </a:cubicBezTo>
                <a:cubicBezTo>
                  <a:pt x="5239" y="872"/>
                  <a:pt x="5294" y="888"/>
                  <a:pt x="5342" y="922"/>
                </a:cubicBezTo>
                <a:lnTo>
                  <a:pt x="5342" y="772"/>
                </a:lnTo>
                <a:close/>
                <a:moveTo>
                  <a:pt x="4229" y="2124"/>
                </a:moveTo>
                <a:cubicBezTo>
                  <a:pt x="4113" y="2207"/>
                  <a:pt x="3977" y="2249"/>
                  <a:pt x="3819" y="2249"/>
                </a:cubicBezTo>
                <a:cubicBezTo>
                  <a:pt x="3647" y="2249"/>
                  <a:pt x="3509" y="2187"/>
                  <a:pt x="3405" y="2063"/>
                </a:cubicBezTo>
                <a:cubicBezTo>
                  <a:pt x="3302" y="1939"/>
                  <a:pt x="3250" y="1776"/>
                  <a:pt x="3250" y="1576"/>
                </a:cubicBezTo>
                <a:cubicBezTo>
                  <a:pt x="3250" y="1440"/>
                  <a:pt x="3275" y="1318"/>
                  <a:pt x="3327" y="1210"/>
                </a:cubicBezTo>
                <a:cubicBezTo>
                  <a:pt x="3378" y="1101"/>
                  <a:pt x="3451" y="1017"/>
                  <a:pt x="3546" y="956"/>
                </a:cubicBezTo>
                <a:cubicBezTo>
                  <a:pt x="3641" y="896"/>
                  <a:pt x="3747" y="866"/>
                  <a:pt x="3867" y="866"/>
                </a:cubicBezTo>
                <a:cubicBezTo>
                  <a:pt x="4000" y="866"/>
                  <a:pt x="4123" y="900"/>
                  <a:pt x="4235" y="969"/>
                </a:cubicBezTo>
                <a:cubicBezTo>
                  <a:pt x="4235" y="811"/>
                  <a:pt x="4235" y="811"/>
                  <a:pt x="4235" y="811"/>
                </a:cubicBezTo>
                <a:cubicBezTo>
                  <a:pt x="4123" y="762"/>
                  <a:pt x="4007" y="737"/>
                  <a:pt x="3888" y="737"/>
                </a:cubicBezTo>
                <a:cubicBezTo>
                  <a:pt x="3738" y="737"/>
                  <a:pt x="3604" y="773"/>
                  <a:pt x="3485" y="845"/>
                </a:cubicBezTo>
                <a:cubicBezTo>
                  <a:pt x="3366" y="917"/>
                  <a:pt x="3272" y="1018"/>
                  <a:pt x="3205" y="1149"/>
                </a:cubicBezTo>
                <a:cubicBezTo>
                  <a:pt x="3137" y="1280"/>
                  <a:pt x="3103" y="1425"/>
                  <a:pt x="3103" y="1585"/>
                </a:cubicBezTo>
                <a:cubicBezTo>
                  <a:pt x="3103" y="1738"/>
                  <a:pt x="3133" y="1875"/>
                  <a:pt x="3192" y="1996"/>
                </a:cubicBezTo>
                <a:cubicBezTo>
                  <a:pt x="3251" y="2117"/>
                  <a:pt x="3334" y="2211"/>
                  <a:pt x="3443" y="2277"/>
                </a:cubicBezTo>
                <a:cubicBezTo>
                  <a:pt x="3551" y="2344"/>
                  <a:pt x="3675" y="2377"/>
                  <a:pt x="3813" y="2377"/>
                </a:cubicBezTo>
                <a:cubicBezTo>
                  <a:pt x="3975" y="2377"/>
                  <a:pt x="4113" y="2342"/>
                  <a:pt x="4229" y="2271"/>
                </a:cubicBezTo>
                <a:lnTo>
                  <a:pt x="4229" y="2124"/>
                </a:lnTo>
                <a:close/>
                <a:moveTo>
                  <a:pt x="2715" y="775"/>
                </a:moveTo>
                <a:cubicBezTo>
                  <a:pt x="2575" y="775"/>
                  <a:pt x="2575" y="775"/>
                  <a:pt x="2575" y="775"/>
                </a:cubicBezTo>
                <a:cubicBezTo>
                  <a:pt x="2575" y="2339"/>
                  <a:pt x="2575" y="2339"/>
                  <a:pt x="2575" y="2339"/>
                </a:cubicBezTo>
                <a:cubicBezTo>
                  <a:pt x="2715" y="2339"/>
                  <a:pt x="2715" y="2339"/>
                  <a:pt x="2715" y="2339"/>
                </a:cubicBezTo>
                <a:lnTo>
                  <a:pt x="2715" y="775"/>
                </a:lnTo>
                <a:close/>
                <a:moveTo>
                  <a:pt x="2727" y="346"/>
                </a:moveTo>
                <a:cubicBezTo>
                  <a:pt x="2751" y="323"/>
                  <a:pt x="2762" y="295"/>
                  <a:pt x="2762" y="262"/>
                </a:cubicBezTo>
                <a:cubicBezTo>
                  <a:pt x="2762" y="228"/>
                  <a:pt x="2750" y="200"/>
                  <a:pt x="2727" y="180"/>
                </a:cubicBezTo>
                <a:cubicBezTo>
                  <a:pt x="2703" y="159"/>
                  <a:pt x="2675" y="149"/>
                  <a:pt x="2643" y="149"/>
                </a:cubicBezTo>
                <a:cubicBezTo>
                  <a:pt x="2614" y="149"/>
                  <a:pt x="2587" y="160"/>
                  <a:pt x="2563" y="181"/>
                </a:cubicBezTo>
                <a:cubicBezTo>
                  <a:pt x="2539" y="201"/>
                  <a:pt x="2527" y="229"/>
                  <a:pt x="2527" y="262"/>
                </a:cubicBezTo>
                <a:cubicBezTo>
                  <a:pt x="2527" y="297"/>
                  <a:pt x="2539" y="325"/>
                  <a:pt x="2562" y="348"/>
                </a:cubicBezTo>
                <a:cubicBezTo>
                  <a:pt x="2586" y="370"/>
                  <a:pt x="2613" y="381"/>
                  <a:pt x="2643" y="381"/>
                </a:cubicBezTo>
                <a:cubicBezTo>
                  <a:pt x="2676" y="381"/>
                  <a:pt x="2704" y="370"/>
                  <a:pt x="2727" y="346"/>
                </a:cubicBezTo>
                <a:moveTo>
                  <a:pt x="2043" y="2339"/>
                </a:moveTo>
                <a:cubicBezTo>
                  <a:pt x="2043" y="149"/>
                  <a:pt x="2043" y="149"/>
                  <a:pt x="2043" y="149"/>
                </a:cubicBezTo>
                <a:cubicBezTo>
                  <a:pt x="1909" y="149"/>
                  <a:pt x="1909" y="149"/>
                  <a:pt x="1909" y="149"/>
                </a:cubicBezTo>
                <a:cubicBezTo>
                  <a:pt x="1104" y="1901"/>
                  <a:pt x="1104" y="1901"/>
                  <a:pt x="1104" y="1901"/>
                </a:cubicBezTo>
                <a:cubicBezTo>
                  <a:pt x="1035" y="2095"/>
                  <a:pt x="1035" y="2095"/>
                  <a:pt x="1035" y="2095"/>
                </a:cubicBezTo>
                <a:cubicBezTo>
                  <a:pt x="1026" y="2095"/>
                  <a:pt x="1026" y="2095"/>
                  <a:pt x="1026" y="2095"/>
                </a:cubicBezTo>
                <a:cubicBezTo>
                  <a:pt x="974" y="1954"/>
                  <a:pt x="974" y="1954"/>
                  <a:pt x="974" y="1954"/>
                </a:cubicBezTo>
                <a:cubicBezTo>
                  <a:pt x="957" y="1913"/>
                  <a:pt x="957" y="1913"/>
                  <a:pt x="957" y="1913"/>
                </a:cubicBezTo>
                <a:cubicBezTo>
                  <a:pt x="140" y="149"/>
                  <a:pt x="140" y="149"/>
                  <a:pt x="140" y="149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2339"/>
                  <a:pt x="0" y="2339"/>
                  <a:pt x="0" y="2339"/>
                </a:cubicBezTo>
                <a:cubicBezTo>
                  <a:pt x="151" y="2339"/>
                  <a:pt x="151" y="2339"/>
                  <a:pt x="151" y="2339"/>
                </a:cubicBezTo>
                <a:cubicBezTo>
                  <a:pt x="151" y="748"/>
                  <a:pt x="151" y="748"/>
                  <a:pt x="151" y="748"/>
                </a:cubicBezTo>
                <a:cubicBezTo>
                  <a:pt x="151" y="639"/>
                  <a:pt x="147" y="542"/>
                  <a:pt x="140" y="456"/>
                </a:cubicBezTo>
                <a:cubicBezTo>
                  <a:pt x="148" y="456"/>
                  <a:pt x="148" y="456"/>
                  <a:pt x="148" y="456"/>
                </a:cubicBezTo>
                <a:cubicBezTo>
                  <a:pt x="167" y="536"/>
                  <a:pt x="191" y="604"/>
                  <a:pt x="220" y="662"/>
                </a:cubicBezTo>
                <a:cubicBezTo>
                  <a:pt x="1002" y="2339"/>
                  <a:pt x="1002" y="2339"/>
                  <a:pt x="1002" y="2339"/>
                </a:cubicBezTo>
                <a:cubicBezTo>
                  <a:pt x="1050" y="2339"/>
                  <a:pt x="1050" y="2339"/>
                  <a:pt x="1050" y="2339"/>
                </a:cubicBezTo>
                <a:cubicBezTo>
                  <a:pt x="1829" y="653"/>
                  <a:pt x="1829" y="653"/>
                  <a:pt x="1829" y="653"/>
                </a:cubicBezTo>
                <a:cubicBezTo>
                  <a:pt x="1909" y="462"/>
                  <a:pt x="1909" y="462"/>
                  <a:pt x="1909" y="462"/>
                </a:cubicBezTo>
                <a:cubicBezTo>
                  <a:pt x="1915" y="462"/>
                  <a:pt x="1915" y="462"/>
                  <a:pt x="1915" y="462"/>
                </a:cubicBezTo>
                <a:cubicBezTo>
                  <a:pt x="1898" y="785"/>
                  <a:pt x="1898" y="785"/>
                  <a:pt x="1898" y="785"/>
                </a:cubicBezTo>
                <a:cubicBezTo>
                  <a:pt x="1898" y="2339"/>
                  <a:pt x="1898" y="2339"/>
                  <a:pt x="1898" y="2339"/>
                </a:cubicBezTo>
                <a:lnTo>
                  <a:pt x="2043" y="233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643" tIns="44821" rIns="89643" bIns="44821" numCol="1" anchor="t" anchorCtr="0" compatLnSpc="1">
            <a:prstTxWarp prst="textNoShape">
              <a:avLst/>
            </a:prstTxWarp>
          </a:bodyPr>
          <a:lstStyle/>
          <a:p>
            <a:endParaRPr lang="en-US" sz="2130">
              <a:gradFill>
                <a:gsLst>
                  <a:gs pos="56637">
                    <a:schemeClr val="tx1"/>
                  </a:gs>
                  <a:gs pos="33000">
                    <a:schemeClr val="tx1"/>
                  </a:gs>
                </a:gsLst>
                <a:lin ang="5400000" scaled="1"/>
              </a:gradFill>
            </a:endParaRP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 bwMode="auto">
          <a:xfrm>
            <a:off x="684770" y="672672"/>
            <a:ext cx="1379093" cy="297133"/>
            <a:chOff x="662" y="2256"/>
            <a:chExt cx="8467" cy="1824"/>
          </a:xfrm>
          <a:solidFill>
            <a:schemeClr val="tx1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auto">
            <a:xfrm>
              <a:off x="3010" y="2530"/>
              <a:ext cx="6119" cy="1210"/>
            </a:xfrm>
            <a:custGeom>
              <a:avLst/>
              <a:gdLst>
                <a:gd name="T0" fmla="*/ 4666 w 5027"/>
                <a:gd name="T1" fmla="*/ 151 h 986"/>
                <a:gd name="T2" fmla="*/ 4500 w 5027"/>
                <a:gd name="T3" fmla="*/ 327 h 986"/>
                <a:gd name="T4" fmla="*/ 4875 w 5027"/>
                <a:gd name="T5" fmla="*/ 136 h 986"/>
                <a:gd name="T6" fmla="*/ 5027 w 5027"/>
                <a:gd name="T7" fmla="*/ 451 h 986"/>
                <a:gd name="T8" fmla="*/ 4878 w 5027"/>
                <a:gd name="T9" fmla="*/ 783 h 986"/>
                <a:gd name="T10" fmla="*/ 5027 w 5027"/>
                <a:gd name="T11" fmla="*/ 958 h 986"/>
                <a:gd name="T12" fmla="*/ 4724 w 5027"/>
                <a:gd name="T13" fmla="*/ 779 h 986"/>
                <a:gd name="T14" fmla="*/ 4500 w 5027"/>
                <a:gd name="T15" fmla="*/ 966 h 986"/>
                <a:gd name="T16" fmla="*/ 4241 w 5027"/>
                <a:gd name="T17" fmla="*/ 450 h 986"/>
                <a:gd name="T18" fmla="*/ 4357 w 5027"/>
                <a:gd name="T19" fmla="*/ 164 h 986"/>
                <a:gd name="T20" fmla="*/ 1094 w 5027"/>
                <a:gd name="T21" fmla="*/ 142 h 986"/>
                <a:gd name="T22" fmla="*/ 1256 w 5027"/>
                <a:gd name="T23" fmla="*/ 85 h 986"/>
                <a:gd name="T24" fmla="*/ 0 w 5027"/>
                <a:gd name="T25" fmla="*/ 966 h 986"/>
                <a:gd name="T26" fmla="*/ 146 w 5027"/>
                <a:gd name="T27" fmla="*/ 278 h 986"/>
                <a:gd name="T28" fmla="*/ 535 w 5027"/>
                <a:gd name="T29" fmla="*/ 965 h 986"/>
                <a:gd name="T30" fmla="*/ 811 w 5027"/>
                <a:gd name="T31" fmla="*/ 308 h 986"/>
                <a:gd name="T32" fmla="*/ 965 w 5027"/>
                <a:gd name="T33" fmla="*/ 74 h 986"/>
                <a:gd name="T34" fmla="*/ 430 w 5027"/>
                <a:gd name="T35" fmla="*/ 601 h 986"/>
                <a:gd name="T36" fmla="*/ 1592 w 5027"/>
                <a:gd name="T37" fmla="*/ 326 h 986"/>
                <a:gd name="T38" fmla="*/ 1454 w 5027"/>
                <a:gd name="T39" fmla="*/ 897 h 986"/>
                <a:gd name="T40" fmla="*/ 1862 w 5027"/>
                <a:gd name="T41" fmla="*/ 798 h 986"/>
                <a:gd name="T42" fmla="*/ 1520 w 5027"/>
                <a:gd name="T43" fmla="*/ 685 h 986"/>
                <a:gd name="T44" fmla="*/ 1862 w 5027"/>
                <a:gd name="T45" fmla="*/ 491 h 986"/>
                <a:gd name="T46" fmla="*/ 1592 w 5027"/>
                <a:gd name="T47" fmla="*/ 326 h 986"/>
                <a:gd name="T48" fmla="*/ 3088 w 5027"/>
                <a:gd name="T49" fmla="*/ 562 h 986"/>
                <a:gd name="T50" fmla="*/ 3344 w 5027"/>
                <a:gd name="T51" fmla="*/ 760 h 986"/>
                <a:gd name="T52" fmla="*/ 3081 w 5027"/>
                <a:gd name="T53" fmla="*/ 797 h 986"/>
                <a:gd name="T54" fmla="*/ 3449 w 5027"/>
                <a:gd name="T55" fmla="*/ 916 h 986"/>
                <a:gd name="T56" fmla="*/ 3261 w 5027"/>
                <a:gd name="T57" fmla="*/ 550 h 986"/>
                <a:gd name="T58" fmla="*/ 3473 w 5027"/>
                <a:gd name="T59" fmla="*/ 479 h 986"/>
                <a:gd name="T60" fmla="*/ 2204 w 5027"/>
                <a:gd name="T61" fmla="*/ 337 h 986"/>
                <a:gd name="T62" fmla="*/ 1974 w 5027"/>
                <a:gd name="T63" fmla="*/ 327 h 986"/>
                <a:gd name="T64" fmla="*/ 2125 w 5027"/>
                <a:gd name="T65" fmla="*/ 660 h 986"/>
                <a:gd name="T66" fmla="*/ 2346 w 5027"/>
                <a:gd name="T67" fmla="*/ 478 h 986"/>
                <a:gd name="T68" fmla="*/ 1108 w 5027"/>
                <a:gd name="T69" fmla="*/ 327 h 986"/>
                <a:gd name="T70" fmla="*/ 1260 w 5027"/>
                <a:gd name="T71" fmla="*/ 327 h 986"/>
                <a:gd name="T72" fmla="*/ 2943 w 5027"/>
                <a:gd name="T73" fmla="*/ 863 h 986"/>
                <a:gd name="T74" fmla="*/ 2412 w 5027"/>
                <a:gd name="T75" fmla="*/ 856 h 986"/>
                <a:gd name="T76" fmla="*/ 2627 w 5027"/>
                <a:gd name="T77" fmla="*/ 315 h 986"/>
                <a:gd name="T78" fmla="*/ 3010 w 5027"/>
                <a:gd name="T79" fmla="*/ 677 h 986"/>
                <a:gd name="T80" fmla="*/ 2673 w 5027"/>
                <a:gd name="T81" fmla="*/ 437 h 986"/>
                <a:gd name="T82" fmla="*/ 2536 w 5027"/>
                <a:gd name="T83" fmla="*/ 769 h 986"/>
                <a:gd name="T84" fmla="*/ 2832 w 5027"/>
                <a:gd name="T85" fmla="*/ 769 h 986"/>
                <a:gd name="T86" fmla="*/ 4158 w 5027"/>
                <a:gd name="T87" fmla="*/ 864 h 986"/>
                <a:gd name="T88" fmla="*/ 3600 w 5027"/>
                <a:gd name="T89" fmla="*/ 805 h 986"/>
                <a:gd name="T90" fmla="*/ 3845 w 5027"/>
                <a:gd name="T91" fmla="*/ 315 h 986"/>
                <a:gd name="T92" fmla="*/ 4227 w 5027"/>
                <a:gd name="T93" fmla="*/ 647 h 986"/>
                <a:gd name="T94" fmla="*/ 3886 w 5027"/>
                <a:gd name="T95" fmla="*/ 437 h 986"/>
                <a:gd name="T96" fmla="*/ 3747 w 5027"/>
                <a:gd name="T97" fmla="*/ 757 h 986"/>
                <a:gd name="T98" fmla="*/ 4026 w 5027"/>
                <a:gd name="T99" fmla="*/ 805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27" h="986">
                  <a:moveTo>
                    <a:pt x="4443" y="46"/>
                  </a:moveTo>
                  <a:cubicBezTo>
                    <a:pt x="4508" y="4"/>
                    <a:pt x="4593" y="0"/>
                    <a:pt x="4666" y="20"/>
                  </a:cubicBezTo>
                  <a:cubicBezTo>
                    <a:pt x="4667" y="64"/>
                    <a:pt x="4666" y="108"/>
                    <a:pt x="4666" y="151"/>
                  </a:cubicBezTo>
                  <a:cubicBezTo>
                    <a:pt x="4631" y="136"/>
                    <a:pt x="4590" y="126"/>
                    <a:pt x="4554" y="141"/>
                  </a:cubicBezTo>
                  <a:cubicBezTo>
                    <a:pt x="4525" y="153"/>
                    <a:pt x="4507" y="182"/>
                    <a:pt x="4503" y="212"/>
                  </a:cubicBezTo>
                  <a:cubicBezTo>
                    <a:pt x="4497" y="250"/>
                    <a:pt x="4501" y="289"/>
                    <a:pt x="4500" y="327"/>
                  </a:cubicBezTo>
                  <a:cubicBezTo>
                    <a:pt x="4574" y="327"/>
                    <a:pt x="4649" y="327"/>
                    <a:pt x="4723" y="327"/>
                  </a:cubicBezTo>
                  <a:cubicBezTo>
                    <a:pt x="4724" y="278"/>
                    <a:pt x="4723" y="230"/>
                    <a:pt x="4724" y="182"/>
                  </a:cubicBezTo>
                  <a:cubicBezTo>
                    <a:pt x="4775" y="167"/>
                    <a:pt x="4825" y="151"/>
                    <a:pt x="4875" y="136"/>
                  </a:cubicBezTo>
                  <a:cubicBezTo>
                    <a:pt x="4876" y="200"/>
                    <a:pt x="4875" y="263"/>
                    <a:pt x="4876" y="327"/>
                  </a:cubicBezTo>
                  <a:cubicBezTo>
                    <a:pt x="4926" y="326"/>
                    <a:pt x="4977" y="327"/>
                    <a:pt x="5027" y="327"/>
                  </a:cubicBezTo>
                  <a:cubicBezTo>
                    <a:pt x="5027" y="451"/>
                    <a:pt x="5027" y="451"/>
                    <a:pt x="5027" y="451"/>
                  </a:cubicBezTo>
                  <a:cubicBezTo>
                    <a:pt x="4976" y="449"/>
                    <a:pt x="4926" y="450"/>
                    <a:pt x="4875" y="450"/>
                  </a:cubicBezTo>
                  <a:cubicBezTo>
                    <a:pt x="4875" y="522"/>
                    <a:pt x="4875" y="593"/>
                    <a:pt x="4875" y="664"/>
                  </a:cubicBezTo>
                  <a:cubicBezTo>
                    <a:pt x="4876" y="704"/>
                    <a:pt x="4873" y="743"/>
                    <a:pt x="4878" y="783"/>
                  </a:cubicBezTo>
                  <a:cubicBezTo>
                    <a:pt x="4881" y="806"/>
                    <a:pt x="4889" y="832"/>
                    <a:pt x="4911" y="844"/>
                  </a:cubicBezTo>
                  <a:cubicBezTo>
                    <a:pt x="4947" y="864"/>
                    <a:pt x="4994" y="855"/>
                    <a:pt x="5027" y="833"/>
                  </a:cubicBezTo>
                  <a:cubicBezTo>
                    <a:pt x="5027" y="958"/>
                    <a:pt x="5027" y="958"/>
                    <a:pt x="5027" y="958"/>
                  </a:cubicBezTo>
                  <a:cubicBezTo>
                    <a:pt x="4983" y="977"/>
                    <a:pt x="4935" y="983"/>
                    <a:pt x="4887" y="980"/>
                  </a:cubicBezTo>
                  <a:cubicBezTo>
                    <a:pt x="4842" y="976"/>
                    <a:pt x="4796" y="960"/>
                    <a:pt x="4767" y="924"/>
                  </a:cubicBezTo>
                  <a:cubicBezTo>
                    <a:pt x="4733" y="884"/>
                    <a:pt x="4724" y="830"/>
                    <a:pt x="4724" y="779"/>
                  </a:cubicBezTo>
                  <a:cubicBezTo>
                    <a:pt x="4723" y="669"/>
                    <a:pt x="4724" y="560"/>
                    <a:pt x="4723" y="450"/>
                  </a:cubicBezTo>
                  <a:cubicBezTo>
                    <a:pt x="4649" y="450"/>
                    <a:pt x="4574" y="450"/>
                    <a:pt x="4500" y="450"/>
                  </a:cubicBezTo>
                  <a:cubicBezTo>
                    <a:pt x="4500" y="622"/>
                    <a:pt x="4500" y="794"/>
                    <a:pt x="4500" y="966"/>
                  </a:cubicBezTo>
                  <a:cubicBezTo>
                    <a:pt x="4449" y="966"/>
                    <a:pt x="4398" y="966"/>
                    <a:pt x="4347" y="966"/>
                  </a:cubicBezTo>
                  <a:cubicBezTo>
                    <a:pt x="4347" y="794"/>
                    <a:pt x="4347" y="622"/>
                    <a:pt x="4347" y="450"/>
                  </a:cubicBezTo>
                  <a:cubicBezTo>
                    <a:pt x="4312" y="450"/>
                    <a:pt x="4276" y="450"/>
                    <a:pt x="4241" y="450"/>
                  </a:cubicBezTo>
                  <a:cubicBezTo>
                    <a:pt x="4241" y="409"/>
                    <a:pt x="4241" y="368"/>
                    <a:pt x="4241" y="327"/>
                  </a:cubicBezTo>
                  <a:cubicBezTo>
                    <a:pt x="4276" y="326"/>
                    <a:pt x="4311" y="327"/>
                    <a:pt x="4347" y="327"/>
                  </a:cubicBezTo>
                  <a:cubicBezTo>
                    <a:pt x="4349" y="273"/>
                    <a:pt x="4341" y="217"/>
                    <a:pt x="4357" y="164"/>
                  </a:cubicBezTo>
                  <a:cubicBezTo>
                    <a:pt x="4371" y="116"/>
                    <a:pt x="4401" y="73"/>
                    <a:pt x="4443" y="46"/>
                  </a:cubicBezTo>
                  <a:close/>
                  <a:moveTo>
                    <a:pt x="1171" y="55"/>
                  </a:moveTo>
                  <a:cubicBezTo>
                    <a:pt x="1129" y="60"/>
                    <a:pt x="1093" y="99"/>
                    <a:pt x="1094" y="142"/>
                  </a:cubicBezTo>
                  <a:cubicBezTo>
                    <a:pt x="1092" y="183"/>
                    <a:pt x="1125" y="220"/>
                    <a:pt x="1165" y="227"/>
                  </a:cubicBezTo>
                  <a:cubicBezTo>
                    <a:pt x="1203" y="236"/>
                    <a:pt x="1247" y="219"/>
                    <a:pt x="1266" y="185"/>
                  </a:cubicBezTo>
                  <a:cubicBezTo>
                    <a:pt x="1284" y="154"/>
                    <a:pt x="1280" y="112"/>
                    <a:pt x="1256" y="85"/>
                  </a:cubicBezTo>
                  <a:cubicBezTo>
                    <a:pt x="1235" y="61"/>
                    <a:pt x="1202" y="51"/>
                    <a:pt x="1171" y="55"/>
                  </a:cubicBezTo>
                  <a:close/>
                  <a:moveTo>
                    <a:pt x="0" y="74"/>
                  </a:moveTo>
                  <a:cubicBezTo>
                    <a:pt x="0" y="371"/>
                    <a:pt x="0" y="668"/>
                    <a:pt x="0" y="966"/>
                  </a:cubicBezTo>
                  <a:cubicBezTo>
                    <a:pt x="48" y="966"/>
                    <a:pt x="97" y="966"/>
                    <a:pt x="145" y="966"/>
                  </a:cubicBezTo>
                  <a:cubicBezTo>
                    <a:pt x="145" y="833"/>
                    <a:pt x="145" y="700"/>
                    <a:pt x="145" y="567"/>
                  </a:cubicBezTo>
                  <a:cubicBezTo>
                    <a:pt x="146" y="470"/>
                    <a:pt x="144" y="374"/>
                    <a:pt x="146" y="278"/>
                  </a:cubicBezTo>
                  <a:cubicBezTo>
                    <a:pt x="149" y="283"/>
                    <a:pt x="151" y="287"/>
                    <a:pt x="154" y="292"/>
                  </a:cubicBezTo>
                  <a:cubicBezTo>
                    <a:pt x="245" y="516"/>
                    <a:pt x="334" y="741"/>
                    <a:pt x="426" y="966"/>
                  </a:cubicBezTo>
                  <a:cubicBezTo>
                    <a:pt x="462" y="965"/>
                    <a:pt x="499" y="966"/>
                    <a:pt x="535" y="965"/>
                  </a:cubicBezTo>
                  <a:cubicBezTo>
                    <a:pt x="623" y="740"/>
                    <a:pt x="713" y="517"/>
                    <a:pt x="802" y="292"/>
                  </a:cubicBezTo>
                  <a:cubicBezTo>
                    <a:pt x="804" y="287"/>
                    <a:pt x="807" y="283"/>
                    <a:pt x="810" y="278"/>
                  </a:cubicBezTo>
                  <a:cubicBezTo>
                    <a:pt x="810" y="288"/>
                    <a:pt x="811" y="298"/>
                    <a:pt x="811" y="308"/>
                  </a:cubicBezTo>
                  <a:cubicBezTo>
                    <a:pt x="810" y="527"/>
                    <a:pt x="811" y="746"/>
                    <a:pt x="810" y="965"/>
                  </a:cubicBezTo>
                  <a:cubicBezTo>
                    <a:pt x="862" y="966"/>
                    <a:pt x="913" y="965"/>
                    <a:pt x="965" y="966"/>
                  </a:cubicBezTo>
                  <a:cubicBezTo>
                    <a:pt x="964" y="668"/>
                    <a:pt x="964" y="371"/>
                    <a:pt x="965" y="74"/>
                  </a:cubicBezTo>
                  <a:cubicBezTo>
                    <a:pt x="893" y="75"/>
                    <a:pt x="822" y="74"/>
                    <a:pt x="751" y="75"/>
                  </a:cubicBezTo>
                  <a:cubicBezTo>
                    <a:pt x="662" y="295"/>
                    <a:pt x="572" y="514"/>
                    <a:pt x="483" y="733"/>
                  </a:cubicBezTo>
                  <a:cubicBezTo>
                    <a:pt x="465" y="689"/>
                    <a:pt x="448" y="645"/>
                    <a:pt x="430" y="601"/>
                  </a:cubicBezTo>
                  <a:cubicBezTo>
                    <a:pt x="361" y="425"/>
                    <a:pt x="291" y="250"/>
                    <a:pt x="222" y="74"/>
                  </a:cubicBezTo>
                  <a:cubicBezTo>
                    <a:pt x="148" y="74"/>
                    <a:pt x="74" y="74"/>
                    <a:pt x="0" y="74"/>
                  </a:cubicBezTo>
                  <a:close/>
                  <a:moveTo>
                    <a:pt x="1592" y="326"/>
                  </a:moveTo>
                  <a:cubicBezTo>
                    <a:pt x="1524" y="346"/>
                    <a:pt x="1462" y="387"/>
                    <a:pt x="1422" y="446"/>
                  </a:cubicBezTo>
                  <a:cubicBezTo>
                    <a:pt x="1375" y="515"/>
                    <a:pt x="1358" y="601"/>
                    <a:pt x="1362" y="683"/>
                  </a:cubicBezTo>
                  <a:cubicBezTo>
                    <a:pt x="1365" y="762"/>
                    <a:pt x="1397" y="841"/>
                    <a:pt x="1454" y="897"/>
                  </a:cubicBezTo>
                  <a:cubicBezTo>
                    <a:pt x="1507" y="948"/>
                    <a:pt x="1580" y="976"/>
                    <a:pt x="1653" y="980"/>
                  </a:cubicBezTo>
                  <a:cubicBezTo>
                    <a:pt x="1725" y="983"/>
                    <a:pt x="1800" y="974"/>
                    <a:pt x="1862" y="937"/>
                  </a:cubicBezTo>
                  <a:cubicBezTo>
                    <a:pt x="1862" y="891"/>
                    <a:pt x="1862" y="844"/>
                    <a:pt x="1862" y="798"/>
                  </a:cubicBezTo>
                  <a:cubicBezTo>
                    <a:pt x="1822" y="828"/>
                    <a:pt x="1775" y="849"/>
                    <a:pt x="1725" y="855"/>
                  </a:cubicBezTo>
                  <a:cubicBezTo>
                    <a:pt x="1674" y="858"/>
                    <a:pt x="1620" y="846"/>
                    <a:pt x="1582" y="812"/>
                  </a:cubicBezTo>
                  <a:cubicBezTo>
                    <a:pt x="1545" y="780"/>
                    <a:pt x="1525" y="733"/>
                    <a:pt x="1520" y="685"/>
                  </a:cubicBezTo>
                  <a:cubicBezTo>
                    <a:pt x="1513" y="624"/>
                    <a:pt x="1522" y="558"/>
                    <a:pt x="1561" y="508"/>
                  </a:cubicBezTo>
                  <a:cubicBezTo>
                    <a:pt x="1590" y="468"/>
                    <a:pt x="1638" y="442"/>
                    <a:pt x="1687" y="438"/>
                  </a:cubicBezTo>
                  <a:cubicBezTo>
                    <a:pt x="1750" y="430"/>
                    <a:pt x="1813" y="454"/>
                    <a:pt x="1862" y="491"/>
                  </a:cubicBezTo>
                  <a:cubicBezTo>
                    <a:pt x="1862" y="442"/>
                    <a:pt x="1861" y="394"/>
                    <a:pt x="1862" y="345"/>
                  </a:cubicBezTo>
                  <a:cubicBezTo>
                    <a:pt x="1849" y="337"/>
                    <a:pt x="1834" y="331"/>
                    <a:pt x="1819" y="327"/>
                  </a:cubicBezTo>
                  <a:cubicBezTo>
                    <a:pt x="1745" y="306"/>
                    <a:pt x="1665" y="305"/>
                    <a:pt x="1592" y="326"/>
                  </a:cubicBezTo>
                  <a:close/>
                  <a:moveTo>
                    <a:pt x="3261" y="316"/>
                  </a:moveTo>
                  <a:cubicBezTo>
                    <a:pt x="3201" y="327"/>
                    <a:pt x="3143" y="358"/>
                    <a:pt x="3109" y="410"/>
                  </a:cubicBezTo>
                  <a:cubicBezTo>
                    <a:pt x="3080" y="454"/>
                    <a:pt x="3076" y="512"/>
                    <a:pt x="3088" y="562"/>
                  </a:cubicBezTo>
                  <a:cubicBezTo>
                    <a:pt x="3096" y="597"/>
                    <a:pt x="3117" y="627"/>
                    <a:pt x="3145" y="649"/>
                  </a:cubicBezTo>
                  <a:cubicBezTo>
                    <a:pt x="3185" y="679"/>
                    <a:pt x="3232" y="696"/>
                    <a:pt x="3277" y="717"/>
                  </a:cubicBezTo>
                  <a:cubicBezTo>
                    <a:pt x="3301" y="728"/>
                    <a:pt x="3326" y="739"/>
                    <a:pt x="3344" y="760"/>
                  </a:cubicBezTo>
                  <a:cubicBezTo>
                    <a:pt x="3362" y="787"/>
                    <a:pt x="3357" y="832"/>
                    <a:pt x="3325" y="847"/>
                  </a:cubicBezTo>
                  <a:cubicBezTo>
                    <a:pt x="3293" y="863"/>
                    <a:pt x="3255" y="862"/>
                    <a:pt x="3220" y="857"/>
                  </a:cubicBezTo>
                  <a:cubicBezTo>
                    <a:pt x="3170" y="848"/>
                    <a:pt x="3122" y="827"/>
                    <a:pt x="3081" y="797"/>
                  </a:cubicBezTo>
                  <a:cubicBezTo>
                    <a:pt x="3081" y="846"/>
                    <a:pt x="3081" y="895"/>
                    <a:pt x="3081" y="945"/>
                  </a:cubicBezTo>
                  <a:cubicBezTo>
                    <a:pt x="3130" y="966"/>
                    <a:pt x="3183" y="977"/>
                    <a:pt x="3236" y="980"/>
                  </a:cubicBezTo>
                  <a:cubicBezTo>
                    <a:pt x="3311" y="983"/>
                    <a:pt x="3393" y="969"/>
                    <a:pt x="3449" y="916"/>
                  </a:cubicBezTo>
                  <a:cubicBezTo>
                    <a:pt x="3508" y="863"/>
                    <a:pt x="3522" y="771"/>
                    <a:pt x="3489" y="701"/>
                  </a:cubicBezTo>
                  <a:cubicBezTo>
                    <a:pt x="3471" y="663"/>
                    <a:pt x="3437" y="637"/>
                    <a:pt x="3401" y="617"/>
                  </a:cubicBezTo>
                  <a:cubicBezTo>
                    <a:pt x="3356" y="591"/>
                    <a:pt x="3305" y="579"/>
                    <a:pt x="3261" y="550"/>
                  </a:cubicBezTo>
                  <a:cubicBezTo>
                    <a:pt x="3236" y="534"/>
                    <a:pt x="3229" y="499"/>
                    <a:pt x="3239" y="472"/>
                  </a:cubicBezTo>
                  <a:cubicBezTo>
                    <a:pt x="3252" y="445"/>
                    <a:pt x="3284" y="433"/>
                    <a:pt x="3312" y="432"/>
                  </a:cubicBezTo>
                  <a:cubicBezTo>
                    <a:pt x="3369" y="430"/>
                    <a:pt x="3426" y="447"/>
                    <a:pt x="3473" y="479"/>
                  </a:cubicBezTo>
                  <a:cubicBezTo>
                    <a:pt x="3473" y="432"/>
                    <a:pt x="3473" y="385"/>
                    <a:pt x="3473" y="339"/>
                  </a:cubicBezTo>
                  <a:cubicBezTo>
                    <a:pt x="3406" y="313"/>
                    <a:pt x="3332" y="304"/>
                    <a:pt x="3261" y="316"/>
                  </a:cubicBezTo>
                  <a:close/>
                  <a:moveTo>
                    <a:pt x="2204" y="337"/>
                  </a:moveTo>
                  <a:cubicBezTo>
                    <a:pt x="2166" y="358"/>
                    <a:pt x="2141" y="397"/>
                    <a:pt x="2125" y="437"/>
                  </a:cubicBezTo>
                  <a:cubicBezTo>
                    <a:pt x="2125" y="400"/>
                    <a:pt x="2125" y="364"/>
                    <a:pt x="2125" y="327"/>
                  </a:cubicBezTo>
                  <a:cubicBezTo>
                    <a:pt x="2075" y="327"/>
                    <a:pt x="2025" y="327"/>
                    <a:pt x="1974" y="327"/>
                  </a:cubicBezTo>
                  <a:cubicBezTo>
                    <a:pt x="1975" y="540"/>
                    <a:pt x="1974" y="753"/>
                    <a:pt x="1974" y="966"/>
                  </a:cubicBezTo>
                  <a:cubicBezTo>
                    <a:pt x="2025" y="966"/>
                    <a:pt x="2075" y="966"/>
                    <a:pt x="2125" y="966"/>
                  </a:cubicBezTo>
                  <a:cubicBezTo>
                    <a:pt x="2125" y="864"/>
                    <a:pt x="2125" y="762"/>
                    <a:pt x="2125" y="660"/>
                  </a:cubicBezTo>
                  <a:cubicBezTo>
                    <a:pt x="2124" y="616"/>
                    <a:pt x="2128" y="570"/>
                    <a:pt x="2147" y="530"/>
                  </a:cubicBezTo>
                  <a:cubicBezTo>
                    <a:pt x="2165" y="492"/>
                    <a:pt x="2199" y="458"/>
                    <a:pt x="2242" y="453"/>
                  </a:cubicBezTo>
                  <a:cubicBezTo>
                    <a:pt x="2278" y="450"/>
                    <a:pt x="2316" y="458"/>
                    <a:pt x="2346" y="478"/>
                  </a:cubicBezTo>
                  <a:cubicBezTo>
                    <a:pt x="2346" y="427"/>
                    <a:pt x="2346" y="376"/>
                    <a:pt x="2346" y="325"/>
                  </a:cubicBezTo>
                  <a:cubicBezTo>
                    <a:pt x="2300" y="309"/>
                    <a:pt x="2246" y="311"/>
                    <a:pt x="2204" y="337"/>
                  </a:cubicBezTo>
                  <a:close/>
                  <a:moveTo>
                    <a:pt x="1108" y="327"/>
                  </a:moveTo>
                  <a:cubicBezTo>
                    <a:pt x="1108" y="327"/>
                    <a:pt x="1107" y="753"/>
                    <a:pt x="1108" y="966"/>
                  </a:cubicBezTo>
                  <a:cubicBezTo>
                    <a:pt x="1158" y="966"/>
                    <a:pt x="1209" y="966"/>
                    <a:pt x="1259" y="966"/>
                  </a:cubicBezTo>
                  <a:cubicBezTo>
                    <a:pt x="1260" y="753"/>
                    <a:pt x="1260" y="327"/>
                    <a:pt x="1260" y="327"/>
                  </a:cubicBezTo>
                  <a:cubicBezTo>
                    <a:pt x="1108" y="327"/>
                    <a:pt x="1108" y="327"/>
                    <a:pt x="1108" y="327"/>
                  </a:cubicBezTo>
                  <a:close/>
                  <a:moveTo>
                    <a:pt x="3010" y="677"/>
                  </a:moveTo>
                  <a:cubicBezTo>
                    <a:pt x="3005" y="744"/>
                    <a:pt x="2984" y="811"/>
                    <a:pt x="2943" y="863"/>
                  </a:cubicBezTo>
                  <a:cubicBezTo>
                    <a:pt x="2900" y="919"/>
                    <a:pt x="2836" y="958"/>
                    <a:pt x="2767" y="972"/>
                  </a:cubicBezTo>
                  <a:cubicBezTo>
                    <a:pt x="2708" y="984"/>
                    <a:pt x="2647" y="984"/>
                    <a:pt x="2588" y="971"/>
                  </a:cubicBezTo>
                  <a:cubicBezTo>
                    <a:pt x="2518" y="956"/>
                    <a:pt x="2453" y="916"/>
                    <a:pt x="2412" y="856"/>
                  </a:cubicBezTo>
                  <a:cubicBezTo>
                    <a:pt x="2363" y="788"/>
                    <a:pt x="2350" y="700"/>
                    <a:pt x="2356" y="618"/>
                  </a:cubicBezTo>
                  <a:cubicBezTo>
                    <a:pt x="2360" y="548"/>
                    <a:pt x="2382" y="477"/>
                    <a:pt x="2426" y="423"/>
                  </a:cubicBezTo>
                  <a:cubicBezTo>
                    <a:pt x="2475" y="361"/>
                    <a:pt x="2550" y="325"/>
                    <a:pt x="2627" y="315"/>
                  </a:cubicBezTo>
                  <a:cubicBezTo>
                    <a:pt x="2700" y="306"/>
                    <a:pt x="2778" y="310"/>
                    <a:pt x="2846" y="341"/>
                  </a:cubicBezTo>
                  <a:cubicBezTo>
                    <a:pt x="2905" y="368"/>
                    <a:pt x="2953" y="417"/>
                    <a:pt x="2979" y="476"/>
                  </a:cubicBezTo>
                  <a:cubicBezTo>
                    <a:pt x="3008" y="539"/>
                    <a:pt x="3015" y="609"/>
                    <a:pt x="3010" y="677"/>
                  </a:cubicBezTo>
                  <a:close/>
                  <a:moveTo>
                    <a:pt x="2853" y="613"/>
                  </a:moveTo>
                  <a:cubicBezTo>
                    <a:pt x="2850" y="565"/>
                    <a:pt x="2836" y="515"/>
                    <a:pt x="2801" y="480"/>
                  </a:cubicBezTo>
                  <a:cubicBezTo>
                    <a:pt x="2768" y="446"/>
                    <a:pt x="2719" y="433"/>
                    <a:pt x="2673" y="437"/>
                  </a:cubicBezTo>
                  <a:cubicBezTo>
                    <a:pt x="2636" y="439"/>
                    <a:pt x="2599" y="451"/>
                    <a:pt x="2572" y="476"/>
                  </a:cubicBezTo>
                  <a:cubicBezTo>
                    <a:pt x="2535" y="510"/>
                    <a:pt x="2518" y="560"/>
                    <a:pt x="2513" y="609"/>
                  </a:cubicBezTo>
                  <a:cubicBezTo>
                    <a:pt x="2508" y="663"/>
                    <a:pt x="2512" y="720"/>
                    <a:pt x="2536" y="769"/>
                  </a:cubicBezTo>
                  <a:cubicBezTo>
                    <a:pt x="2556" y="807"/>
                    <a:pt x="2591" y="837"/>
                    <a:pt x="2632" y="848"/>
                  </a:cubicBezTo>
                  <a:cubicBezTo>
                    <a:pt x="2673" y="859"/>
                    <a:pt x="2717" y="858"/>
                    <a:pt x="2757" y="843"/>
                  </a:cubicBezTo>
                  <a:cubicBezTo>
                    <a:pt x="2790" y="830"/>
                    <a:pt x="2817" y="802"/>
                    <a:pt x="2832" y="769"/>
                  </a:cubicBezTo>
                  <a:cubicBezTo>
                    <a:pt x="2854" y="720"/>
                    <a:pt x="2856" y="666"/>
                    <a:pt x="2853" y="613"/>
                  </a:cubicBezTo>
                  <a:close/>
                  <a:moveTo>
                    <a:pt x="4227" y="647"/>
                  </a:moveTo>
                  <a:cubicBezTo>
                    <a:pt x="4227" y="724"/>
                    <a:pt x="4206" y="803"/>
                    <a:pt x="4158" y="864"/>
                  </a:cubicBezTo>
                  <a:cubicBezTo>
                    <a:pt x="4113" y="924"/>
                    <a:pt x="4043" y="962"/>
                    <a:pt x="3970" y="974"/>
                  </a:cubicBezTo>
                  <a:cubicBezTo>
                    <a:pt x="3899" y="986"/>
                    <a:pt x="3823" y="983"/>
                    <a:pt x="3755" y="956"/>
                  </a:cubicBezTo>
                  <a:cubicBezTo>
                    <a:pt x="3686" y="929"/>
                    <a:pt x="3629" y="874"/>
                    <a:pt x="3600" y="805"/>
                  </a:cubicBezTo>
                  <a:cubicBezTo>
                    <a:pt x="3569" y="736"/>
                    <a:pt x="3566" y="658"/>
                    <a:pt x="3576" y="584"/>
                  </a:cubicBezTo>
                  <a:cubicBezTo>
                    <a:pt x="3585" y="509"/>
                    <a:pt x="3619" y="437"/>
                    <a:pt x="3676" y="387"/>
                  </a:cubicBezTo>
                  <a:cubicBezTo>
                    <a:pt x="3723" y="346"/>
                    <a:pt x="3784" y="323"/>
                    <a:pt x="3845" y="315"/>
                  </a:cubicBezTo>
                  <a:cubicBezTo>
                    <a:pt x="3922" y="306"/>
                    <a:pt x="4002" y="311"/>
                    <a:pt x="4072" y="346"/>
                  </a:cubicBezTo>
                  <a:cubicBezTo>
                    <a:pt x="4133" y="376"/>
                    <a:pt x="4180" y="431"/>
                    <a:pt x="4203" y="494"/>
                  </a:cubicBezTo>
                  <a:cubicBezTo>
                    <a:pt x="4222" y="543"/>
                    <a:pt x="4228" y="595"/>
                    <a:pt x="4227" y="647"/>
                  </a:cubicBezTo>
                  <a:close/>
                  <a:moveTo>
                    <a:pt x="4064" y="574"/>
                  </a:moveTo>
                  <a:cubicBezTo>
                    <a:pt x="4056" y="536"/>
                    <a:pt x="4040" y="498"/>
                    <a:pt x="4009" y="473"/>
                  </a:cubicBezTo>
                  <a:cubicBezTo>
                    <a:pt x="3976" y="444"/>
                    <a:pt x="3930" y="434"/>
                    <a:pt x="3886" y="437"/>
                  </a:cubicBezTo>
                  <a:cubicBezTo>
                    <a:pt x="3844" y="439"/>
                    <a:pt x="3802" y="457"/>
                    <a:pt x="3775" y="490"/>
                  </a:cubicBezTo>
                  <a:cubicBezTo>
                    <a:pt x="3745" y="525"/>
                    <a:pt x="3732" y="572"/>
                    <a:pt x="3729" y="617"/>
                  </a:cubicBezTo>
                  <a:cubicBezTo>
                    <a:pt x="3725" y="664"/>
                    <a:pt x="3729" y="713"/>
                    <a:pt x="3747" y="757"/>
                  </a:cubicBezTo>
                  <a:cubicBezTo>
                    <a:pt x="3762" y="793"/>
                    <a:pt x="3790" y="825"/>
                    <a:pt x="3827" y="841"/>
                  </a:cubicBezTo>
                  <a:cubicBezTo>
                    <a:pt x="3862" y="856"/>
                    <a:pt x="3900" y="858"/>
                    <a:pt x="3937" y="853"/>
                  </a:cubicBezTo>
                  <a:cubicBezTo>
                    <a:pt x="3971" y="848"/>
                    <a:pt x="4004" y="831"/>
                    <a:pt x="4026" y="805"/>
                  </a:cubicBezTo>
                  <a:cubicBezTo>
                    <a:pt x="4048" y="778"/>
                    <a:pt x="4060" y="745"/>
                    <a:pt x="4066" y="711"/>
                  </a:cubicBezTo>
                  <a:cubicBezTo>
                    <a:pt x="4073" y="666"/>
                    <a:pt x="4073" y="619"/>
                    <a:pt x="4064" y="5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" name="Freeform 6"/>
            <p:cNvSpPr>
              <a:spLocks noEditPoints="1"/>
            </p:cNvSpPr>
            <p:nvPr/>
          </p:nvSpPr>
          <p:spPr bwMode="auto">
            <a:xfrm>
              <a:off x="662" y="2256"/>
              <a:ext cx="1808" cy="1824"/>
            </a:xfrm>
            <a:custGeom>
              <a:avLst/>
              <a:gdLst>
                <a:gd name="T0" fmla="*/ 0 w 1485"/>
                <a:gd name="T1" fmla="*/ 0 h 1486"/>
                <a:gd name="T2" fmla="*/ 707 w 1485"/>
                <a:gd name="T3" fmla="*/ 0 h 1486"/>
                <a:gd name="T4" fmla="*/ 707 w 1485"/>
                <a:gd name="T5" fmla="*/ 707 h 1486"/>
                <a:gd name="T6" fmla="*/ 0 w 1485"/>
                <a:gd name="T7" fmla="*/ 707 h 1486"/>
                <a:gd name="T8" fmla="*/ 0 w 1485"/>
                <a:gd name="T9" fmla="*/ 0 h 1486"/>
                <a:gd name="T10" fmla="*/ 779 w 1485"/>
                <a:gd name="T11" fmla="*/ 0 h 1486"/>
                <a:gd name="T12" fmla="*/ 779 w 1485"/>
                <a:gd name="T13" fmla="*/ 707 h 1486"/>
                <a:gd name="T14" fmla="*/ 1485 w 1485"/>
                <a:gd name="T15" fmla="*/ 707 h 1486"/>
                <a:gd name="T16" fmla="*/ 1485 w 1485"/>
                <a:gd name="T17" fmla="*/ 0 h 1486"/>
                <a:gd name="T18" fmla="*/ 779 w 1485"/>
                <a:gd name="T19" fmla="*/ 0 h 1486"/>
                <a:gd name="T20" fmla="*/ 0 w 1485"/>
                <a:gd name="T21" fmla="*/ 779 h 1486"/>
                <a:gd name="T22" fmla="*/ 0 w 1485"/>
                <a:gd name="T23" fmla="*/ 1486 h 1486"/>
                <a:gd name="T24" fmla="*/ 707 w 1485"/>
                <a:gd name="T25" fmla="*/ 1486 h 1486"/>
                <a:gd name="T26" fmla="*/ 707 w 1485"/>
                <a:gd name="T27" fmla="*/ 779 h 1486"/>
                <a:gd name="T28" fmla="*/ 0 w 1485"/>
                <a:gd name="T29" fmla="*/ 779 h 1486"/>
                <a:gd name="T30" fmla="*/ 779 w 1485"/>
                <a:gd name="T31" fmla="*/ 779 h 1486"/>
                <a:gd name="T32" fmla="*/ 779 w 1485"/>
                <a:gd name="T33" fmla="*/ 1486 h 1486"/>
                <a:gd name="T34" fmla="*/ 1485 w 1485"/>
                <a:gd name="T35" fmla="*/ 1486 h 1486"/>
                <a:gd name="T36" fmla="*/ 1485 w 1485"/>
                <a:gd name="T37" fmla="*/ 779 h 1486"/>
                <a:gd name="T38" fmla="*/ 779 w 1485"/>
                <a:gd name="T39" fmla="*/ 779 h 1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85" h="1486">
                  <a:moveTo>
                    <a:pt x="0" y="0"/>
                  </a:moveTo>
                  <a:cubicBezTo>
                    <a:pt x="707" y="0"/>
                    <a:pt x="707" y="0"/>
                    <a:pt x="707" y="0"/>
                  </a:cubicBezTo>
                  <a:cubicBezTo>
                    <a:pt x="707" y="236"/>
                    <a:pt x="707" y="471"/>
                    <a:pt x="707" y="707"/>
                  </a:cubicBezTo>
                  <a:cubicBezTo>
                    <a:pt x="471" y="707"/>
                    <a:pt x="236" y="707"/>
                    <a:pt x="0" y="707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779" y="0"/>
                  </a:moveTo>
                  <a:cubicBezTo>
                    <a:pt x="779" y="236"/>
                    <a:pt x="779" y="471"/>
                    <a:pt x="779" y="707"/>
                  </a:cubicBezTo>
                  <a:cubicBezTo>
                    <a:pt x="1014" y="707"/>
                    <a:pt x="1250" y="707"/>
                    <a:pt x="1485" y="707"/>
                  </a:cubicBezTo>
                  <a:cubicBezTo>
                    <a:pt x="1485" y="471"/>
                    <a:pt x="1485" y="236"/>
                    <a:pt x="1485" y="0"/>
                  </a:cubicBezTo>
                  <a:cubicBezTo>
                    <a:pt x="779" y="0"/>
                    <a:pt x="779" y="0"/>
                    <a:pt x="779" y="0"/>
                  </a:cubicBezTo>
                  <a:close/>
                  <a:moveTo>
                    <a:pt x="0" y="779"/>
                  </a:moveTo>
                  <a:cubicBezTo>
                    <a:pt x="0" y="1486"/>
                    <a:pt x="0" y="1486"/>
                    <a:pt x="0" y="1486"/>
                  </a:cubicBezTo>
                  <a:cubicBezTo>
                    <a:pt x="707" y="1486"/>
                    <a:pt x="707" y="1486"/>
                    <a:pt x="707" y="1486"/>
                  </a:cubicBezTo>
                  <a:cubicBezTo>
                    <a:pt x="707" y="1250"/>
                    <a:pt x="707" y="1015"/>
                    <a:pt x="707" y="779"/>
                  </a:cubicBezTo>
                  <a:cubicBezTo>
                    <a:pt x="471" y="779"/>
                    <a:pt x="236" y="779"/>
                    <a:pt x="0" y="779"/>
                  </a:cubicBezTo>
                  <a:close/>
                  <a:moveTo>
                    <a:pt x="779" y="779"/>
                  </a:moveTo>
                  <a:cubicBezTo>
                    <a:pt x="779" y="1015"/>
                    <a:pt x="779" y="1250"/>
                    <a:pt x="779" y="1486"/>
                  </a:cubicBezTo>
                  <a:cubicBezTo>
                    <a:pt x="1485" y="1486"/>
                    <a:pt x="1485" y="1486"/>
                    <a:pt x="1485" y="1486"/>
                  </a:cubicBezTo>
                  <a:cubicBezTo>
                    <a:pt x="1485" y="1250"/>
                    <a:pt x="1485" y="1015"/>
                    <a:pt x="1485" y="779"/>
                  </a:cubicBezTo>
                  <a:cubicBezTo>
                    <a:pt x="1250" y="779"/>
                    <a:pt x="1014" y="779"/>
                    <a:pt x="779" y="7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1594776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alk-in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28" y="1"/>
            <a:ext cx="12189772" cy="6857999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auto">
          <a:xfrm>
            <a:off x="-1" y="0"/>
            <a:ext cx="10135384" cy="6858000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65000">
                <a:srgbClr val="FFFFFF">
                  <a:alpha val="63000"/>
                </a:srgbClr>
              </a:gs>
              <a:gs pos="0">
                <a:schemeClr val="bg2"/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 61"/>
          <p:cNvSpPr/>
          <p:nvPr userDrawn="1"/>
        </p:nvSpPr>
        <p:spPr bwMode="auto">
          <a:xfrm>
            <a:off x="3411824" y="3807275"/>
            <a:ext cx="7751806" cy="27705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8931" y="385642"/>
            <a:ext cx="1597373" cy="342985"/>
            <a:chOff x="468133" y="404930"/>
            <a:chExt cx="1670574" cy="358652"/>
          </a:xfrm>
        </p:grpSpPr>
        <p:pic>
          <p:nvPicPr>
            <p:cNvPr id="65" name="Picture 64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68133" y="404930"/>
              <a:ext cx="358652" cy="358652"/>
            </a:xfrm>
            <a:prstGeom prst="rect">
              <a:avLst/>
            </a:prstGeom>
          </p:spPr>
        </p:pic>
        <p:sp>
          <p:nvSpPr>
            <p:cNvPr id="66" name="Freeform 12"/>
            <p:cNvSpPr>
              <a:spLocks noEditPoints="1"/>
            </p:cNvSpPr>
            <p:nvPr userDrawn="1"/>
          </p:nvSpPr>
          <p:spPr bwMode="black">
            <a:xfrm>
              <a:off x="931559" y="460452"/>
              <a:ext cx="1207148" cy="23623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</p:grpSp>
      <p:sp>
        <p:nvSpPr>
          <p:cNvPr id="6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8762" y="3847151"/>
            <a:ext cx="11674476" cy="1772525"/>
          </a:xfrm>
          <a:noFill/>
        </p:spPr>
        <p:txBody>
          <a:bodyPr vert="horz" wrap="square" lIns="146304" tIns="91440" rIns="146304" bIns="0" rtlCol="0" anchor="b" anchorCtr="0">
            <a:noAutofit/>
          </a:bodyPr>
          <a:lstStyle>
            <a:lvl1pPr>
              <a:defRPr lang="en-US" sz="6470" spc="-98" dirty="0">
                <a:gradFill>
                  <a:gsLst>
                    <a:gs pos="0">
                      <a:schemeClr val="tx1"/>
                    </a:gs>
                    <a:gs pos="60000">
                      <a:schemeClr val="tx2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58762" y="5629017"/>
            <a:ext cx="11674476" cy="625555"/>
          </a:xfrm>
        </p:spPr>
        <p:txBody>
          <a:bodyPr lIns="182880"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b="0" baseline="0">
                <a:gradFill>
                  <a:gsLst>
                    <a:gs pos="0">
                      <a:schemeClr val="tx1"/>
                    </a:gs>
                    <a:gs pos="6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| Dat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58762" y="6149978"/>
            <a:ext cx="4946283" cy="561290"/>
          </a:xfrm>
          <a:prstGeom prst="rect">
            <a:avLst/>
          </a:prstGeom>
          <a:noFill/>
        </p:spPr>
        <p:txBody>
          <a:bodyPr wrap="square" lIns="179285" tIns="143428" rIns="89642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1961" dirty="0">
                <a:gradFill>
                  <a:gsLst>
                    <a:gs pos="0">
                      <a:schemeClr val="tx1"/>
                    </a:gs>
                    <a:gs pos="6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Worldwide</a:t>
            </a:r>
            <a:r>
              <a:rPr lang="en-US" sz="1961" dirty="0">
                <a:gradFill>
                  <a:gsLst>
                    <a:gs pos="0">
                      <a:schemeClr val="tx1"/>
                    </a:gs>
                    <a:gs pos="60000">
                      <a:schemeClr val="tx2"/>
                    </a:gs>
                  </a:gsLst>
                  <a:lin ang="5400000" scaled="0"/>
                </a:gradFill>
              </a:rPr>
              <a:t> </a:t>
            </a:r>
            <a:r>
              <a:rPr lang="en-US" sz="1961" dirty="0">
                <a:gradFill>
                  <a:gsLst>
                    <a:gs pos="0">
                      <a:schemeClr val="tx1"/>
                    </a:gs>
                    <a:gs pos="60000">
                      <a:schemeClr val="tx2"/>
                    </a:gs>
                  </a:gsLst>
                  <a:lin ang="5400000" scaled="0"/>
                </a:gradFill>
                <a:latin typeface="+mj-lt"/>
              </a:rPr>
              <a:t>Readiness</a:t>
            </a:r>
          </a:p>
        </p:txBody>
      </p:sp>
    </p:spTree>
    <p:extLst>
      <p:ext uri="{BB962C8B-B14F-4D97-AF65-F5344CB8AC3E}">
        <p14:creationId xmlns:p14="http://schemas.microsoft.com/office/powerpoint/2010/main" val="956666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Title_Accent Color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" t="6056" r="80" b="9406"/>
          <a:stretch/>
        </p:blipFill>
        <p:spPr>
          <a:xfrm>
            <a:off x="-7173" y="-14021"/>
            <a:ext cx="12206345" cy="6886041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258763" y="6149978"/>
            <a:ext cx="2627220" cy="561290"/>
          </a:xfrm>
          <a:prstGeom prst="rect">
            <a:avLst/>
          </a:prstGeom>
          <a:noFill/>
        </p:spPr>
        <p:txBody>
          <a:bodyPr wrap="none" lIns="179285" tIns="143428" rIns="89642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Worldwide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</a:rPr>
              <a:t> 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Readiness</a:t>
            </a:r>
          </a:p>
        </p:txBody>
      </p:sp>
      <p:grpSp>
        <p:nvGrpSpPr>
          <p:cNvPr id="23" name="Group 12"/>
          <p:cNvGrpSpPr>
            <a:grpSpLocks noChangeAspect="1"/>
          </p:cNvGrpSpPr>
          <p:nvPr userDrawn="1"/>
        </p:nvGrpSpPr>
        <p:grpSpPr bwMode="auto">
          <a:xfrm>
            <a:off x="5742360" y="1646183"/>
            <a:ext cx="646130" cy="1048534"/>
            <a:chOff x="731" y="2997"/>
            <a:chExt cx="461" cy="748"/>
          </a:xfrm>
          <a:solidFill>
            <a:schemeClr val="tx2"/>
          </a:solidFill>
        </p:grpSpPr>
        <p:sp>
          <p:nvSpPr>
            <p:cNvPr id="24" name="Freeform 13"/>
            <p:cNvSpPr>
              <a:spLocks noEditPoints="1"/>
            </p:cNvSpPr>
            <p:nvPr/>
          </p:nvSpPr>
          <p:spPr bwMode="auto">
            <a:xfrm>
              <a:off x="731" y="2997"/>
              <a:ext cx="461" cy="748"/>
            </a:xfrm>
            <a:custGeom>
              <a:avLst/>
              <a:gdLst>
                <a:gd name="T0" fmla="*/ 43 w 192"/>
                <a:gd name="T1" fmla="*/ 16 h 314"/>
                <a:gd name="T2" fmla="*/ 35 w 192"/>
                <a:gd name="T3" fmla="*/ 21 h 314"/>
                <a:gd name="T4" fmla="*/ 9 w 192"/>
                <a:gd name="T5" fmla="*/ 54 h 314"/>
                <a:gd name="T6" fmla="*/ 1 w 192"/>
                <a:gd name="T7" fmla="*/ 83 h 314"/>
                <a:gd name="T8" fmla="*/ 22 w 192"/>
                <a:gd name="T9" fmla="*/ 157 h 314"/>
                <a:gd name="T10" fmla="*/ 38 w 192"/>
                <a:gd name="T11" fmla="*/ 187 h 314"/>
                <a:gd name="T12" fmla="*/ 44 w 192"/>
                <a:gd name="T13" fmla="*/ 218 h 314"/>
                <a:gd name="T14" fmla="*/ 53 w 192"/>
                <a:gd name="T15" fmla="*/ 246 h 314"/>
                <a:gd name="T16" fmla="*/ 52 w 192"/>
                <a:gd name="T17" fmla="*/ 256 h 314"/>
                <a:gd name="T18" fmla="*/ 52 w 192"/>
                <a:gd name="T19" fmla="*/ 267 h 314"/>
                <a:gd name="T20" fmla="*/ 55 w 192"/>
                <a:gd name="T21" fmla="*/ 282 h 314"/>
                <a:gd name="T22" fmla="*/ 58 w 192"/>
                <a:gd name="T23" fmla="*/ 290 h 314"/>
                <a:gd name="T24" fmla="*/ 70 w 192"/>
                <a:gd name="T25" fmla="*/ 301 h 314"/>
                <a:gd name="T26" fmla="*/ 77 w 192"/>
                <a:gd name="T27" fmla="*/ 308 h 314"/>
                <a:gd name="T28" fmla="*/ 82 w 192"/>
                <a:gd name="T29" fmla="*/ 313 h 314"/>
                <a:gd name="T30" fmla="*/ 112 w 192"/>
                <a:gd name="T31" fmla="*/ 308 h 314"/>
                <a:gd name="T32" fmla="*/ 125 w 192"/>
                <a:gd name="T33" fmla="*/ 297 h 314"/>
                <a:gd name="T34" fmla="*/ 135 w 192"/>
                <a:gd name="T35" fmla="*/ 278 h 314"/>
                <a:gd name="T36" fmla="*/ 136 w 192"/>
                <a:gd name="T37" fmla="*/ 268 h 314"/>
                <a:gd name="T38" fmla="*/ 136 w 192"/>
                <a:gd name="T39" fmla="*/ 259 h 314"/>
                <a:gd name="T40" fmla="*/ 137 w 192"/>
                <a:gd name="T41" fmla="*/ 255 h 314"/>
                <a:gd name="T42" fmla="*/ 135 w 192"/>
                <a:gd name="T43" fmla="*/ 246 h 314"/>
                <a:gd name="T44" fmla="*/ 136 w 192"/>
                <a:gd name="T45" fmla="*/ 233 h 314"/>
                <a:gd name="T46" fmla="*/ 147 w 192"/>
                <a:gd name="T47" fmla="*/ 217 h 314"/>
                <a:gd name="T48" fmla="*/ 150 w 192"/>
                <a:gd name="T49" fmla="*/ 193 h 314"/>
                <a:gd name="T50" fmla="*/ 161 w 192"/>
                <a:gd name="T51" fmla="*/ 168 h 314"/>
                <a:gd name="T52" fmla="*/ 185 w 192"/>
                <a:gd name="T53" fmla="*/ 116 h 314"/>
                <a:gd name="T54" fmla="*/ 144 w 192"/>
                <a:gd name="T55" fmla="*/ 14 h 314"/>
                <a:gd name="T56" fmla="*/ 102 w 192"/>
                <a:gd name="T57" fmla="*/ 0 h 314"/>
                <a:gd name="T58" fmla="*/ 96 w 192"/>
                <a:gd name="T59" fmla="*/ 7 h 314"/>
                <a:gd name="T60" fmla="*/ 124 w 192"/>
                <a:gd name="T61" fmla="*/ 12 h 314"/>
                <a:gd name="T62" fmla="*/ 163 w 192"/>
                <a:gd name="T63" fmla="*/ 41 h 314"/>
                <a:gd name="T64" fmla="*/ 178 w 192"/>
                <a:gd name="T65" fmla="*/ 114 h 314"/>
                <a:gd name="T66" fmla="*/ 155 w 192"/>
                <a:gd name="T67" fmla="*/ 165 h 314"/>
                <a:gd name="T68" fmla="*/ 143 w 192"/>
                <a:gd name="T69" fmla="*/ 191 h 314"/>
                <a:gd name="T70" fmla="*/ 129 w 192"/>
                <a:gd name="T71" fmla="*/ 229 h 314"/>
                <a:gd name="T72" fmla="*/ 130 w 192"/>
                <a:gd name="T73" fmla="*/ 240 h 314"/>
                <a:gd name="T74" fmla="*/ 130 w 192"/>
                <a:gd name="T75" fmla="*/ 251 h 314"/>
                <a:gd name="T76" fmla="*/ 128 w 192"/>
                <a:gd name="T77" fmla="*/ 261 h 314"/>
                <a:gd name="T78" fmla="*/ 128 w 192"/>
                <a:gd name="T79" fmla="*/ 271 h 314"/>
                <a:gd name="T80" fmla="*/ 128 w 192"/>
                <a:gd name="T81" fmla="*/ 281 h 314"/>
                <a:gd name="T82" fmla="*/ 120 w 192"/>
                <a:gd name="T83" fmla="*/ 291 h 314"/>
                <a:gd name="T84" fmla="*/ 108 w 192"/>
                <a:gd name="T85" fmla="*/ 301 h 314"/>
                <a:gd name="T86" fmla="*/ 81 w 192"/>
                <a:gd name="T87" fmla="*/ 300 h 314"/>
                <a:gd name="T88" fmla="*/ 74 w 192"/>
                <a:gd name="T89" fmla="*/ 294 h 314"/>
                <a:gd name="T90" fmla="*/ 63 w 192"/>
                <a:gd name="T91" fmla="*/ 286 h 314"/>
                <a:gd name="T92" fmla="*/ 62 w 192"/>
                <a:gd name="T93" fmla="*/ 277 h 314"/>
                <a:gd name="T94" fmla="*/ 60 w 192"/>
                <a:gd name="T95" fmla="*/ 267 h 314"/>
                <a:gd name="T96" fmla="*/ 61 w 192"/>
                <a:gd name="T97" fmla="*/ 257 h 314"/>
                <a:gd name="T98" fmla="*/ 60 w 192"/>
                <a:gd name="T99" fmla="*/ 245 h 314"/>
                <a:gd name="T100" fmla="*/ 59 w 192"/>
                <a:gd name="T101" fmla="*/ 229 h 314"/>
                <a:gd name="T102" fmla="*/ 48 w 192"/>
                <a:gd name="T103" fmla="*/ 201 h 314"/>
                <a:gd name="T104" fmla="*/ 44 w 192"/>
                <a:gd name="T105" fmla="*/ 184 h 314"/>
                <a:gd name="T106" fmla="*/ 17 w 192"/>
                <a:gd name="T107" fmla="*/ 131 h 314"/>
                <a:gd name="T108" fmla="*/ 24 w 192"/>
                <a:gd name="T109" fmla="*/ 43 h 314"/>
                <a:gd name="T110" fmla="*/ 39 w 192"/>
                <a:gd name="T111" fmla="*/ 27 h 314"/>
                <a:gd name="T112" fmla="*/ 82 w 192"/>
                <a:gd name="T113" fmla="*/ 8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2" h="314">
                  <a:moveTo>
                    <a:pt x="96" y="0"/>
                  </a:moveTo>
                  <a:cubicBezTo>
                    <a:pt x="91" y="0"/>
                    <a:pt x="86" y="0"/>
                    <a:pt x="81" y="1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67" y="3"/>
                    <a:pt x="54" y="8"/>
                    <a:pt x="43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0" y="17"/>
                    <a:pt x="37" y="19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28" y="26"/>
                    <a:pt x="23" y="32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5" y="43"/>
                    <a:pt x="12" y="49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5" y="63"/>
                    <a:pt x="3" y="73"/>
                    <a:pt x="1" y="83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0" y="101"/>
                    <a:pt x="3" y="118"/>
                    <a:pt x="10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4" y="142"/>
                    <a:pt x="18" y="149"/>
                    <a:pt x="22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7" y="167"/>
                    <a:pt x="33" y="176"/>
                    <a:pt x="38" y="187"/>
                  </a:cubicBezTo>
                  <a:cubicBezTo>
                    <a:pt x="38" y="187"/>
                    <a:pt x="38" y="187"/>
                    <a:pt x="38" y="187"/>
                  </a:cubicBezTo>
                  <a:cubicBezTo>
                    <a:pt x="40" y="191"/>
                    <a:pt x="41" y="196"/>
                    <a:pt x="41" y="201"/>
                  </a:cubicBezTo>
                  <a:cubicBezTo>
                    <a:pt x="41" y="201"/>
                    <a:pt x="41" y="201"/>
                    <a:pt x="41" y="201"/>
                  </a:cubicBezTo>
                  <a:cubicBezTo>
                    <a:pt x="41" y="201"/>
                    <a:pt x="41" y="201"/>
                    <a:pt x="41" y="201"/>
                  </a:cubicBezTo>
                  <a:cubicBezTo>
                    <a:pt x="42" y="206"/>
                    <a:pt x="42" y="212"/>
                    <a:pt x="44" y="218"/>
                  </a:cubicBezTo>
                  <a:cubicBezTo>
                    <a:pt x="44" y="218"/>
                    <a:pt x="44" y="218"/>
                    <a:pt x="44" y="218"/>
                  </a:cubicBezTo>
                  <a:cubicBezTo>
                    <a:pt x="47" y="224"/>
                    <a:pt x="51" y="228"/>
                    <a:pt x="53" y="232"/>
                  </a:cubicBezTo>
                  <a:cubicBezTo>
                    <a:pt x="53" y="234"/>
                    <a:pt x="53" y="235"/>
                    <a:pt x="53" y="238"/>
                  </a:cubicBezTo>
                  <a:cubicBezTo>
                    <a:pt x="52" y="240"/>
                    <a:pt x="52" y="243"/>
                    <a:pt x="53" y="246"/>
                  </a:cubicBezTo>
                  <a:cubicBezTo>
                    <a:pt x="53" y="249"/>
                    <a:pt x="55" y="250"/>
                    <a:pt x="55" y="251"/>
                  </a:cubicBezTo>
                  <a:cubicBezTo>
                    <a:pt x="55" y="252"/>
                    <a:pt x="56" y="252"/>
                    <a:pt x="56" y="252"/>
                  </a:cubicBezTo>
                  <a:cubicBezTo>
                    <a:pt x="55" y="252"/>
                    <a:pt x="55" y="252"/>
                    <a:pt x="54" y="253"/>
                  </a:cubicBezTo>
                  <a:cubicBezTo>
                    <a:pt x="53" y="254"/>
                    <a:pt x="53" y="255"/>
                    <a:pt x="52" y="256"/>
                  </a:cubicBezTo>
                  <a:cubicBezTo>
                    <a:pt x="52" y="258"/>
                    <a:pt x="53" y="259"/>
                    <a:pt x="54" y="260"/>
                  </a:cubicBezTo>
                  <a:cubicBezTo>
                    <a:pt x="54" y="261"/>
                    <a:pt x="54" y="261"/>
                    <a:pt x="55" y="262"/>
                  </a:cubicBezTo>
                  <a:cubicBezTo>
                    <a:pt x="54" y="262"/>
                    <a:pt x="54" y="262"/>
                    <a:pt x="54" y="263"/>
                  </a:cubicBezTo>
                  <a:cubicBezTo>
                    <a:pt x="53" y="264"/>
                    <a:pt x="52" y="265"/>
                    <a:pt x="52" y="267"/>
                  </a:cubicBezTo>
                  <a:cubicBezTo>
                    <a:pt x="52" y="269"/>
                    <a:pt x="54" y="271"/>
                    <a:pt x="55" y="273"/>
                  </a:cubicBezTo>
                  <a:cubicBezTo>
                    <a:pt x="55" y="273"/>
                    <a:pt x="54" y="273"/>
                    <a:pt x="54" y="274"/>
                  </a:cubicBezTo>
                  <a:cubicBezTo>
                    <a:pt x="53" y="274"/>
                    <a:pt x="52" y="276"/>
                    <a:pt x="52" y="277"/>
                  </a:cubicBezTo>
                  <a:cubicBezTo>
                    <a:pt x="52" y="280"/>
                    <a:pt x="54" y="282"/>
                    <a:pt x="55" y="282"/>
                  </a:cubicBezTo>
                  <a:cubicBezTo>
                    <a:pt x="55" y="283"/>
                    <a:pt x="56" y="283"/>
                    <a:pt x="56" y="283"/>
                  </a:cubicBezTo>
                  <a:cubicBezTo>
                    <a:pt x="56" y="283"/>
                    <a:pt x="56" y="284"/>
                    <a:pt x="56" y="285"/>
                  </a:cubicBezTo>
                  <a:cubicBezTo>
                    <a:pt x="56" y="286"/>
                    <a:pt x="56" y="289"/>
                    <a:pt x="58" y="290"/>
                  </a:cubicBezTo>
                  <a:cubicBezTo>
                    <a:pt x="58" y="290"/>
                    <a:pt x="58" y="290"/>
                    <a:pt x="58" y="290"/>
                  </a:cubicBezTo>
                  <a:cubicBezTo>
                    <a:pt x="60" y="293"/>
                    <a:pt x="62" y="294"/>
                    <a:pt x="63" y="296"/>
                  </a:cubicBezTo>
                  <a:cubicBezTo>
                    <a:pt x="63" y="296"/>
                    <a:pt x="63" y="296"/>
                    <a:pt x="63" y="296"/>
                  </a:cubicBezTo>
                  <a:cubicBezTo>
                    <a:pt x="63" y="296"/>
                    <a:pt x="63" y="296"/>
                    <a:pt x="63" y="296"/>
                  </a:cubicBezTo>
                  <a:cubicBezTo>
                    <a:pt x="65" y="298"/>
                    <a:pt x="68" y="299"/>
                    <a:pt x="70" y="301"/>
                  </a:cubicBezTo>
                  <a:cubicBezTo>
                    <a:pt x="72" y="302"/>
                    <a:pt x="74" y="303"/>
                    <a:pt x="75" y="305"/>
                  </a:cubicBezTo>
                  <a:cubicBezTo>
                    <a:pt x="76" y="305"/>
                    <a:pt x="76" y="305"/>
                    <a:pt x="76" y="305"/>
                  </a:cubicBezTo>
                  <a:cubicBezTo>
                    <a:pt x="76" y="305"/>
                    <a:pt x="76" y="305"/>
                    <a:pt x="76" y="305"/>
                  </a:cubicBezTo>
                  <a:cubicBezTo>
                    <a:pt x="76" y="305"/>
                    <a:pt x="76" y="306"/>
                    <a:pt x="77" y="308"/>
                  </a:cubicBezTo>
                  <a:cubicBezTo>
                    <a:pt x="77" y="308"/>
                    <a:pt x="77" y="309"/>
                    <a:pt x="78" y="310"/>
                  </a:cubicBezTo>
                  <a:cubicBezTo>
                    <a:pt x="79" y="311"/>
                    <a:pt x="81" y="312"/>
                    <a:pt x="82" y="313"/>
                  </a:cubicBezTo>
                  <a:cubicBezTo>
                    <a:pt x="82" y="313"/>
                    <a:pt x="82" y="313"/>
                    <a:pt x="82" y="313"/>
                  </a:cubicBezTo>
                  <a:cubicBezTo>
                    <a:pt x="82" y="313"/>
                    <a:pt x="82" y="313"/>
                    <a:pt x="82" y="313"/>
                  </a:cubicBezTo>
                  <a:cubicBezTo>
                    <a:pt x="91" y="314"/>
                    <a:pt x="99" y="314"/>
                    <a:pt x="107" y="313"/>
                  </a:cubicBezTo>
                  <a:cubicBezTo>
                    <a:pt x="107" y="313"/>
                    <a:pt x="107" y="313"/>
                    <a:pt x="107" y="313"/>
                  </a:cubicBezTo>
                  <a:cubicBezTo>
                    <a:pt x="109" y="312"/>
                    <a:pt x="110" y="312"/>
                    <a:pt x="111" y="311"/>
                  </a:cubicBezTo>
                  <a:cubicBezTo>
                    <a:pt x="112" y="310"/>
                    <a:pt x="112" y="309"/>
                    <a:pt x="112" y="308"/>
                  </a:cubicBezTo>
                  <a:cubicBezTo>
                    <a:pt x="113" y="307"/>
                    <a:pt x="114" y="306"/>
                    <a:pt x="113" y="306"/>
                  </a:cubicBezTo>
                  <a:cubicBezTo>
                    <a:pt x="116" y="303"/>
                    <a:pt x="120" y="300"/>
                    <a:pt x="125" y="297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6" y="295"/>
                    <a:pt x="129" y="294"/>
                    <a:pt x="131" y="292"/>
                  </a:cubicBezTo>
                  <a:cubicBezTo>
                    <a:pt x="134" y="290"/>
                    <a:pt x="137" y="288"/>
                    <a:pt x="137" y="284"/>
                  </a:cubicBezTo>
                  <a:cubicBezTo>
                    <a:pt x="138" y="282"/>
                    <a:pt x="137" y="280"/>
                    <a:pt x="136" y="280"/>
                  </a:cubicBezTo>
                  <a:cubicBezTo>
                    <a:pt x="136" y="279"/>
                    <a:pt x="135" y="278"/>
                    <a:pt x="135" y="278"/>
                  </a:cubicBezTo>
                  <a:cubicBezTo>
                    <a:pt x="135" y="277"/>
                    <a:pt x="135" y="277"/>
                    <a:pt x="135" y="277"/>
                  </a:cubicBezTo>
                  <a:cubicBezTo>
                    <a:pt x="135" y="277"/>
                    <a:pt x="136" y="277"/>
                    <a:pt x="136" y="276"/>
                  </a:cubicBezTo>
                  <a:cubicBezTo>
                    <a:pt x="137" y="275"/>
                    <a:pt x="138" y="274"/>
                    <a:pt x="138" y="272"/>
                  </a:cubicBezTo>
                  <a:cubicBezTo>
                    <a:pt x="138" y="271"/>
                    <a:pt x="137" y="269"/>
                    <a:pt x="136" y="268"/>
                  </a:cubicBezTo>
                  <a:cubicBezTo>
                    <a:pt x="136" y="268"/>
                    <a:pt x="136" y="268"/>
                    <a:pt x="135" y="267"/>
                  </a:cubicBezTo>
                  <a:cubicBezTo>
                    <a:pt x="136" y="267"/>
                    <a:pt x="136" y="267"/>
                    <a:pt x="136" y="267"/>
                  </a:cubicBezTo>
                  <a:cubicBezTo>
                    <a:pt x="137" y="266"/>
                    <a:pt x="138" y="265"/>
                    <a:pt x="138" y="263"/>
                  </a:cubicBezTo>
                  <a:cubicBezTo>
                    <a:pt x="138" y="261"/>
                    <a:pt x="137" y="260"/>
                    <a:pt x="136" y="259"/>
                  </a:cubicBezTo>
                  <a:cubicBezTo>
                    <a:pt x="136" y="258"/>
                    <a:pt x="135" y="258"/>
                    <a:pt x="135" y="257"/>
                  </a:cubicBezTo>
                  <a:cubicBezTo>
                    <a:pt x="135" y="257"/>
                    <a:pt x="135" y="257"/>
                    <a:pt x="135" y="257"/>
                  </a:cubicBezTo>
                  <a:cubicBezTo>
                    <a:pt x="135" y="257"/>
                    <a:pt x="135" y="257"/>
                    <a:pt x="135" y="257"/>
                  </a:cubicBezTo>
                  <a:cubicBezTo>
                    <a:pt x="135" y="257"/>
                    <a:pt x="136" y="256"/>
                    <a:pt x="137" y="255"/>
                  </a:cubicBezTo>
                  <a:cubicBezTo>
                    <a:pt x="137" y="254"/>
                    <a:pt x="138" y="253"/>
                    <a:pt x="138" y="251"/>
                  </a:cubicBezTo>
                  <a:cubicBezTo>
                    <a:pt x="138" y="250"/>
                    <a:pt x="138" y="248"/>
                    <a:pt x="137" y="248"/>
                  </a:cubicBezTo>
                  <a:cubicBezTo>
                    <a:pt x="136" y="247"/>
                    <a:pt x="136" y="246"/>
                    <a:pt x="135" y="246"/>
                  </a:cubicBezTo>
                  <a:cubicBezTo>
                    <a:pt x="135" y="246"/>
                    <a:pt x="135" y="246"/>
                    <a:pt x="135" y="246"/>
                  </a:cubicBezTo>
                  <a:cubicBezTo>
                    <a:pt x="135" y="246"/>
                    <a:pt x="135" y="246"/>
                    <a:pt x="135" y="246"/>
                  </a:cubicBezTo>
                  <a:cubicBezTo>
                    <a:pt x="136" y="245"/>
                    <a:pt x="138" y="244"/>
                    <a:pt x="138" y="241"/>
                  </a:cubicBezTo>
                  <a:cubicBezTo>
                    <a:pt x="139" y="238"/>
                    <a:pt x="138" y="236"/>
                    <a:pt x="137" y="234"/>
                  </a:cubicBezTo>
                  <a:cubicBezTo>
                    <a:pt x="137" y="234"/>
                    <a:pt x="137" y="233"/>
                    <a:pt x="136" y="233"/>
                  </a:cubicBezTo>
                  <a:cubicBezTo>
                    <a:pt x="137" y="232"/>
                    <a:pt x="138" y="232"/>
                    <a:pt x="138" y="231"/>
                  </a:cubicBezTo>
                  <a:cubicBezTo>
                    <a:pt x="138" y="231"/>
                    <a:pt x="138" y="231"/>
                    <a:pt x="138" y="231"/>
                  </a:cubicBezTo>
                  <a:cubicBezTo>
                    <a:pt x="138" y="231"/>
                    <a:pt x="138" y="231"/>
                    <a:pt x="138" y="231"/>
                  </a:cubicBezTo>
                  <a:cubicBezTo>
                    <a:pt x="142" y="227"/>
                    <a:pt x="145" y="222"/>
                    <a:pt x="147" y="217"/>
                  </a:cubicBezTo>
                  <a:cubicBezTo>
                    <a:pt x="147" y="217"/>
                    <a:pt x="147" y="217"/>
                    <a:pt x="147" y="217"/>
                  </a:cubicBezTo>
                  <a:cubicBezTo>
                    <a:pt x="147" y="217"/>
                    <a:pt x="147" y="217"/>
                    <a:pt x="147" y="217"/>
                  </a:cubicBezTo>
                  <a:cubicBezTo>
                    <a:pt x="150" y="208"/>
                    <a:pt x="148" y="200"/>
                    <a:pt x="150" y="193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2" y="184"/>
                    <a:pt x="157" y="176"/>
                    <a:pt x="161" y="168"/>
                  </a:cubicBezTo>
                  <a:cubicBezTo>
                    <a:pt x="161" y="168"/>
                    <a:pt x="161" y="168"/>
                    <a:pt x="161" y="168"/>
                  </a:cubicBezTo>
                  <a:cubicBezTo>
                    <a:pt x="161" y="168"/>
                    <a:pt x="161" y="168"/>
                    <a:pt x="161" y="168"/>
                  </a:cubicBezTo>
                  <a:cubicBezTo>
                    <a:pt x="163" y="163"/>
                    <a:pt x="166" y="159"/>
                    <a:pt x="168" y="154"/>
                  </a:cubicBezTo>
                  <a:cubicBezTo>
                    <a:pt x="168" y="154"/>
                    <a:pt x="168" y="154"/>
                    <a:pt x="168" y="154"/>
                  </a:cubicBezTo>
                  <a:cubicBezTo>
                    <a:pt x="175" y="142"/>
                    <a:pt x="182" y="130"/>
                    <a:pt x="185" y="116"/>
                  </a:cubicBezTo>
                  <a:cubicBezTo>
                    <a:pt x="185" y="116"/>
                    <a:pt x="185" y="116"/>
                    <a:pt x="185" y="116"/>
                  </a:cubicBezTo>
                  <a:cubicBezTo>
                    <a:pt x="192" y="89"/>
                    <a:pt x="186" y="59"/>
                    <a:pt x="169" y="37"/>
                  </a:cubicBezTo>
                  <a:cubicBezTo>
                    <a:pt x="169" y="37"/>
                    <a:pt x="169" y="37"/>
                    <a:pt x="169" y="37"/>
                  </a:cubicBezTo>
                  <a:cubicBezTo>
                    <a:pt x="163" y="27"/>
                    <a:pt x="154" y="20"/>
                    <a:pt x="144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39" y="10"/>
                    <a:pt x="132" y="8"/>
                    <a:pt x="127" y="6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19" y="2"/>
                    <a:pt x="110" y="1"/>
                    <a:pt x="102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0" y="0"/>
                    <a:pt x="98" y="0"/>
                    <a:pt x="96" y="0"/>
                  </a:cubicBezTo>
                  <a:close/>
                  <a:moveTo>
                    <a:pt x="96" y="7"/>
                  </a:moveTo>
                  <a:cubicBezTo>
                    <a:pt x="98" y="7"/>
                    <a:pt x="100" y="7"/>
                    <a:pt x="101" y="7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09" y="8"/>
                    <a:pt x="117" y="10"/>
                    <a:pt x="124" y="12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130" y="15"/>
                    <a:pt x="136" y="17"/>
                    <a:pt x="140" y="20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9" y="26"/>
                    <a:pt x="158" y="33"/>
                    <a:pt x="163" y="41"/>
                  </a:cubicBezTo>
                  <a:cubicBezTo>
                    <a:pt x="163" y="41"/>
                    <a:pt x="163" y="41"/>
                    <a:pt x="163" y="41"/>
                  </a:cubicBezTo>
                  <a:cubicBezTo>
                    <a:pt x="164" y="41"/>
                    <a:pt x="164" y="41"/>
                    <a:pt x="164" y="41"/>
                  </a:cubicBezTo>
                  <a:cubicBezTo>
                    <a:pt x="179" y="62"/>
                    <a:pt x="184" y="89"/>
                    <a:pt x="178" y="114"/>
                  </a:cubicBezTo>
                  <a:cubicBezTo>
                    <a:pt x="178" y="114"/>
                    <a:pt x="178" y="114"/>
                    <a:pt x="178" y="114"/>
                  </a:cubicBezTo>
                  <a:cubicBezTo>
                    <a:pt x="178" y="114"/>
                    <a:pt x="178" y="114"/>
                    <a:pt x="178" y="114"/>
                  </a:cubicBezTo>
                  <a:cubicBezTo>
                    <a:pt x="175" y="127"/>
                    <a:pt x="168" y="139"/>
                    <a:pt x="162" y="151"/>
                  </a:cubicBezTo>
                  <a:cubicBezTo>
                    <a:pt x="162" y="151"/>
                    <a:pt x="162" y="151"/>
                    <a:pt x="162" y="151"/>
                  </a:cubicBezTo>
                  <a:cubicBezTo>
                    <a:pt x="162" y="151"/>
                    <a:pt x="162" y="151"/>
                    <a:pt x="162" y="151"/>
                  </a:cubicBezTo>
                  <a:cubicBezTo>
                    <a:pt x="160" y="155"/>
                    <a:pt x="157" y="160"/>
                    <a:pt x="155" y="165"/>
                  </a:cubicBezTo>
                  <a:cubicBezTo>
                    <a:pt x="155" y="165"/>
                    <a:pt x="155" y="165"/>
                    <a:pt x="155" y="165"/>
                  </a:cubicBezTo>
                  <a:cubicBezTo>
                    <a:pt x="151" y="173"/>
                    <a:pt x="145" y="181"/>
                    <a:pt x="143" y="191"/>
                  </a:cubicBezTo>
                  <a:cubicBezTo>
                    <a:pt x="143" y="191"/>
                    <a:pt x="143" y="191"/>
                    <a:pt x="143" y="191"/>
                  </a:cubicBezTo>
                  <a:cubicBezTo>
                    <a:pt x="143" y="191"/>
                    <a:pt x="143" y="191"/>
                    <a:pt x="143" y="191"/>
                  </a:cubicBezTo>
                  <a:cubicBezTo>
                    <a:pt x="141" y="200"/>
                    <a:pt x="142" y="208"/>
                    <a:pt x="140" y="215"/>
                  </a:cubicBezTo>
                  <a:cubicBezTo>
                    <a:pt x="138" y="219"/>
                    <a:pt x="136" y="223"/>
                    <a:pt x="133" y="226"/>
                  </a:cubicBezTo>
                  <a:cubicBezTo>
                    <a:pt x="133" y="226"/>
                    <a:pt x="132" y="227"/>
                    <a:pt x="130" y="228"/>
                  </a:cubicBezTo>
                  <a:cubicBezTo>
                    <a:pt x="129" y="229"/>
                    <a:pt x="129" y="229"/>
                    <a:pt x="129" y="229"/>
                  </a:cubicBezTo>
                  <a:cubicBezTo>
                    <a:pt x="129" y="231"/>
                    <a:pt x="129" y="231"/>
                    <a:pt x="129" y="231"/>
                  </a:cubicBezTo>
                  <a:cubicBezTo>
                    <a:pt x="129" y="234"/>
                    <a:pt x="130" y="236"/>
                    <a:pt x="130" y="237"/>
                  </a:cubicBezTo>
                  <a:cubicBezTo>
                    <a:pt x="131" y="239"/>
                    <a:pt x="131" y="239"/>
                    <a:pt x="131" y="240"/>
                  </a:cubicBezTo>
                  <a:cubicBezTo>
                    <a:pt x="131" y="240"/>
                    <a:pt x="131" y="240"/>
                    <a:pt x="130" y="240"/>
                  </a:cubicBezTo>
                  <a:cubicBezTo>
                    <a:pt x="129" y="241"/>
                    <a:pt x="127" y="243"/>
                    <a:pt x="127" y="246"/>
                  </a:cubicBezTo>
                  <a:cubicBezTo>
                    <a:pt x="127" y="247"/>
                    <a:pt x="128" y="249"/>
                    <a:pt x="129" y="250"/>
                  </a:cubicBezTo>
                  <a:cubicBezTo>
                    <a:pt x="129" y="250"/>
                    <a:pt x="130" y="251"/>
                    <a:pt x="130" y="251"/>
                  </a:cubicBezTo>
                  <a:cubicBezTo>
                    <a:pt x="130" y="251"/>
                    <a:pt x="130" y="251"/>
                    <a:pt x="130" y="251"/>
                  </a:cubicBezTo>
                  <a:cubicBezTo>
                    <a:pt x="130" y="251"/>
                    <a:pt x="130" y="251"/>
                    <a:pt x="130" y="252"/>
                  </a:cubicBezTo>
                  <a:cubicBezTo>
                    <a:pt x="129" y="252"/>
                    <a:pt x="129" y="253"/>
                    <a:pt x="128" y="253"/>
                  </a:cubicBezTo>
                  <a:cubicBezTo>
                    <a:pt x="127" y="254"/>
                    <a:pt x="127" y="256"/>
                    <a:pt x="127" y="257"/>
                  </a:cubicBezTo>
                  <a:cubicBezTo>
                    <a:pt x="127" y="259"/>
                    <a:pt x="127" y="260"/>
                    <a:pt x="128" y="261"/>
                  </a:cubicBezTo>
                  <a:cubicBezTo>
                    <a:pt x="129" y="262"/>
                    <a:pt x="129" y="262"/>
                    <a:pt x="129" y="262"/>
                  </a:cubicBezTo>
                  <a:cubicBezTo>
                    <a:pt x="129" y="263"/>
                    <a:pt x="129" y="263"/>
                    <a:pt x="129" y="263"/>
                  </a:cubicBezTo>
                  <a:cubicBezTo>
                    <a:pt x="128" y="264"/>
                    <a:pt x="127" y="265"/>
                    <a:pt x="127" y="267"/>
                  </a:cubicBezTo>
                  <a:cubicBezTo>
                    <a:pt x="127" y="268"/>
                    <a:pt x="128" y="270"/>
                    <a:pt x="128" y="271"/>
                  </a:cubicBezTo>
                  <a:cubicBezTo>
                    <a:pt x="129" y="271"/>
                    <a:pt x="129" y="272"/>
                    <a:pt x="130" y="272"/>
                  </a:cubicBezTo>
                  <a:cubicBezTo>
                    <a:pt x="129" y="272"/>
                    <a:pt x="129" y="273"/>
                    <a:pt x="128" y="273"/>
                  </a:cubicBezTo>
                  <a:cubicBezTo>
                    <a:pt x="128" y="274"/>
                    <a:pt x="127" y="275"/>
                    <a:pt x="127" y="277"/>
                  </a:cubicBezTo>
                  <a:cubicBezTo>
                    <a:pt x="126" y="278"/>
                    <a:pt x="127" y="280"/>
                    <a:pt x="128" y="281"/>
                  </a:cubicBezTo>
                  <a:cubicBezTo>
                    <a:pt x="128" y="282"/>
                    <a:pt x="129" y="282"/>
                    <a:pt x="129" y="283"/>
                  </a:cubicBezTo>
                  <a:cubicBezTo>
                    <a:pt x="130" y="283"/>
                    <a:pt x="130" y="283"/>
                    <a:pt x="130" y="283"/>
                  </a:cubicBezTo>
                  <a:cubicBezTo>
                    <a:pt x="130" y="284"/>
                    <a:pt x="129" y="285"/>
                    <a:pt x="127" y="286"/>
                  </a:cubicBezTo>
                  <a:cubicBezTo>
                    <a:pt x="125" y="288"/>
                    <a:pt x="122" y="289"/>
                    <a:pt x="120" y="291"/>
                  </a:cubicBezTo>
                  <a:cubicBezTo>
                    <a:pt x="120" y="291"/>
                    <a:pt x="120" y="291"/>
                    <a:pt x="120" y="291"/>
                  </a:cubicBezTo>
                  <a:cubicBezTo>
                    <a:pt x="116" y="294"/>
                    <a:pt x="112" y="297"/>
                    <a:pt x="108" y="301"/>
                  </a:cubicBezTo>
                  <a:cubicBezTo>
                    <a:pt x="108" y="301"/>
                    <a:pt x="108" y="301"/>
                    <a:pt x="108" y="301"/>
                  </a:cubicBezTo>
                  <a:cubicBezTo>
                    <a:pt x="108" y="301"/>
                    <a:pt x="108" y="301"/>
                    <a:pt x="108" y="301"/>
                  </a:cubicBezTo>
                  <a:cubicBezTo>
                    <a:pt x="106" y="303"/>
                    <a:pt x="106" y="305"/>
                    <a:pt x="106" y="305"/>
                  </a:cubicBezTo>
                  <a:cubicBezTo>
                    <a:pt x="98" y="306"/>
                    <a:pt x="91" y="306"/>
                    <a:pt x="84" y="306"/>
                  </a:cubicBezTo>
                  <a:cubicBezTo>
                    <a:pt x="84" y="305"/>
                    <a:pt x="84" y="305"/>
                    <a:pt x="84" y="305"/>
                  </a:cubicBezTo>
                  <a:cubicBezTo>
                    <a:pt x="83" y="304"/>
                    <a:pt x="83" y="302"/>
                    <a:pt x="81" y="300"/>
                  </a:cubicBezTo>
                  <a:cubicBezTo>
                    <a:pt x="81" y="300"/>
                    <a:pt x="81" y="300"/>
                    <a:pt x="81" y="300"/>
                  </a:cubicBezTo>
                  <a:cubicBezTo>
                    <a:pt x="81" y="300"/>
                    <a:pt x="81" y="300"/>
                    <a:pt x="81" y="300"/>
                  </a:cubicBezTo>
                  <a:cubicBezTo>
                    <a:pt x="81" y="300"/>
                    <a:pt x="81" y="300"/>
                    <a:pt x="81" y="300"/>
                  </a:cubicBezTo>
                  <a:cubicBezTo>
                    <a:pt x="79" y="297"/>
                    <a:pt x="76" y="296"/>
                    <a:pt x="74" y="294"/>
                  </a:cubicBezTo>
                  <a:cubicBezTo>
                    <a:pt x="72" y="293"/>
                    <a:pt x="69" y="292"/>
                    <a:pt x="68" y="291"/>
                  </a:cubicBezTo>
                  <a:cubicBezTo>
                    <a:pt x="66" y="289"/>
                    <a:pt x="65" y="287"/>
                    <a:pt x="63" y="286"/>
                  </a:cubicBezTo>
                  <a:cubicBezTo>
                    <a:pt x="63" y="286"/>
                    <a:pt x="63" y="286"/>
                    <a:pt x="63" y="286"/>
                  </a:cubicBezTo>
                  <a:cubicBezTo>
                    <a:pt x="63" y="286"/>
                    <a:pt x="63" y="286"/>
                    <a:pt x="63" y="286"/>
                  </a:cubicBezTo>
                  <a:cubicBezTo>
                    <a:pt x="63" y="286"/>
                    <a:pt x="63" y="286"/>
                    <a:pt x="63" y="285"/>
                  </a:cubicBezTo>
                  <a:cubicBezTo>
                    <a:pt x="63" y="284"/>
                    <a:pt x="63" y="282"/>
                    <a:pt x="62" y="280"/>
                  </a:cubicBezTo>
                  <a:cubicBezTo>
                    <a:pt x="62" y="279"/>
                    <a:pt x="61" y="278"/>
                    <a:pt x="60" y="278"/>
                  </a:cubicBezTo>
                  <a:cubicBezTo>
                    <a:pt x="61" y="277"/>
                    <a:pt x="61" y="277"/>
                    <a:pt x="62" y="277"/>
                  </a:cubicBezTo>
                  <a:cubicBezTo>
                    <a:pt x="62" y="276"/>
                    <a:pt x="63" y="275"/>
                    <a:pt x="63" y="273"/>
                  </a:cubicBezTo>
                  <a:cubicBezTo>
                    <a:pt x="64" y="271"/>
                    <a:pt x="63" y="270"/>
                    <a:pt x="62" y="269"/>
                  </a:cubicBezTo>
                  <a:cubicBezTo>
                    <a:pt x="61" y="268"/>
                    <a:pt x="60" y="268"/>
                    <a:pt x="60" y="267"/>
                  </a:cubicBezTo>
                  <a:cubicBezTo>
                    <a:pt x="60" y="267"/>
                    <a:pt x="60" y="267"/>
                    <a:pt x="60" y="267"/>
                  </a:cubicBezTo>
                  <a:cubicBezTo>
                    <a:pt x="60" y="267"/>
                    <a:pt x="60" y="267"/>
                    <a:pt x="61" y="267"/>
                  </a:cubicBezTo>
                  <a:cubicBezTo>
                    <a:pt x="62" y="266"/>
                    <a:pt x="63" y="264"/>
                    <a:pt x="63" y="263"/>
                  </a:cubicBezTo>
                  <a:cubicBezTo>
                    <a:pt x="63" y="261"/>
                    <a:pt x="63" y="260"/>
                    <a:pt x="62" y="259"/>
                  </a:cubicBezTo>
                  <a:cubicBezTo>
                    <a:pt x="61" y="258"/>
                    <a:pt x="61" y="258"/>
                    <a:pt x="61" y="257"/>
                  </a:cubicBezTo>
                  <a:cubicBezTo>
                    <a:pt x="61" y="257"/>
                    <a:pt x="61" y="257"/>
                    <a:pt x="61" y="257"/>
                  </a:cubicBezTo>
                  <a:cubicBezTo>
                    <a:pt x="62" y="256"/>
                    <a:pt x="63" y="255"/>
                    <a:pt x="63" y="253"/>
                  </a:cubicBezTo>
                  <a:cubicBezTo>
                    <a:pt x="64" y="251"/>
                    <a:pt x="62" y="248"/>
                    <a:pt x="61" y="247"/>
                  </a:cubicBezTo>
                  <a:cubicBezTo>
                    <a:pt x="60" y="246"/>
                    <a:pt x="60" y="245"/>
                    <a:pt x="60" y="245"/>
                  </a:cubicBezTo>
                  <a:cubicBezTo>
                    <a:pt x="59" y="243"/>
                    <a:pt x="60" y="241"/>
                    <a:pt x="60" y="239"/>
                  </a:cubicBezTo>
                  <a:cubicBezTo>
                    <a:pt x="60" y="236"/>
                    <a:pt x="61" y="233"/>
                    <a:pt x="59" y="230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57" y="224"/>
                    <a:pt x="53" y="220"/>
                    <a:pt x="51" y="215"/>
                  </a:cubicBezTo>
                  <a:cubicBezTo>
                    <a:pt x="51" y="215"/>
                    <a:pt x="51" y="215"/>
                    <a:pt x="51" y="215"/>
                  </a:cubicBezTo>
                  <a:cubicBezTo>
                    <a:pt x="51" y="215"/>
                    <a:pt x="51" y="215"/>
                    <a:pt x="51" y="215"/>
                  </a:cubicBezTo>
                  <a:cubicBezTo>
                    <a:pt x="49" y="211"/>
                    <a:pt x="49" y="206"/>
                    <a:pt x="48" y="201"/>
                  </a:cubicBezTo>
                  <a:cubicBezTo>
                    <a:pt x="48" y="201"/>
                    <a:pt x="48" y="201"/>
                    <a:pt x="48" y="200"/>
                  </a:cubicBezTo>
                  <a:cubicBezTo>
                    <a:pt x="48" y="195"/>
                    <a:pt x="47" y="189"/>
                    <a:pt x="44" y="184"/>
                  </a:cubicBezTo>
                  <a:cubicBezTo>
                    <a:pt x="44" y="184"/>
                    <a:pt x="44" y="184"/>
                    <a:pt x="44" y="184"/>
                  </a:cubicBezTo>
                  <a:cubicBezTo>
                    <a:pt x="44" y="184"/>
                    <a:pt x="44" y="184"/>
                    <a:pt x="44" y="184"/>
                  </a:cubicBezTo>
                  <a:cubicBezTo>
                    <a:pt x="40" y="173"/>
                    <a:pt x="34" y="163"/>
                    <a:pt x="28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4" y="146"/>
                    <a:pt x="20" y="138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0" y="116"/>
                    <a:pt x="8" y="100"/>
                    <a:pt x="9" y="84"/>
                  </a:cubicBezTo>
                  <a:cubicBezTo>
                    <a:pt x="10" y="75"/>
                    <a:pt x="12" y="66"/>
                    <a:pt x="16" y="57"/>
                  </a:cubicBezTo>
                  <a:cubicBezTo>
                    <a:pt x="19" y="52"/>
                    <a:pt x="21" y="47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9" y="37"/>
                    <a:pt x="34" y="31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2" y="25"/>
                    <a:pt x="44" y="23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57" y="15"/>
                    <a:pt x="69" y="10"/>
                    <a:pt x="82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7" y="8"/>
                    <a:pt x="92" y="7"/>
                    <a:pt x="96" y="7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gradFill>
                  <a:gsLst>
                    <a:gs pos="2917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5" name="Freeform 14"/>
            <p:cNvSpPr>
              <a:spLocks/>
            </p:cNvSpPr>
            <p:nvPr/>
          </p:nvSpPr>
          <p:spPr bwMode="auto">
            <a:xfrm>
              <a:off x="861" y="3535"/>
              <a:ext cx="192" cy="34"/>
            </a:xfrm>
            <a:custGeom>
              <a:avLst/>
              <a:gdLst>
                <a:gd name="T0" fmla="*/ 2 w 80"/>
                <a:gd name="T1" fmla="*/ 0 h 14"/>
                <a:gd name="T2" fmla="*/ 0 w 80"/>
                <a:gd name="T3" fmla="*/ 8 h 14"/>
                <a:gd name="T4" fmla="*/ 41 w 80"/>
                <a:gd name="T5" fmla="*/ 14 h 14"/>
                <a:gd name="T6" fmla="*/ 80 w 80"/>
                <a:gd name="T7" fmla="*/ 10 h 14"/>
                <a:gd name="T8" fmla="*/ 79 w 80"/>
                <a:gd name="T9" fmla="*/ 2 h 14"/>
                <a:gd name="T10" fmla="*/ 41 w 80"/>
                <a:gd name="T11" fmla="*/ 6 h 14"/>
                <a:gd name="T12" fmla="*/ 2 w 80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4">
                  <a:moveTo>
                    <a:pt x="2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26" y="13"/>
                    <a:pt x="41" y="14"/>
                  </a:cubicBezTo>
                  <a:cubicBezTo>
                    <a:pt x="55" y="14"/>
                    <a:pt x="80" y="10"/>
                    <a:pt x="80" y="10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79" y="2"/>
                    <a:pt x="53" y="6"/>
                    <a:pt x="41" y="6"/>
                  </a:cubicBezTo>
                  <a:cubicBezTo>
                    <a:pt x="28" y="6"/>
                    <a:pt x="2" y="0"/>
                    <a:pt x="2" y="0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gradFill>
                  <a:gsLst>
                    <a:gs pos="2917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6" name="Freeform 15"/>
            <p:cNvSpPr>
              <a:spLocks/>
            </p:cNvSpPr>
            <p:nvPr/>
          </p:nvSpPr>
          <p:spPr bwMode="auto">
            <a:xfrm>
              <a:off x="873" y="3666"/>
              <a:ext cx="177" cy="38"/>
            </a:xfrm>
            <a:custGeom>
              <a:avLst/>
              <a:gdLst>
                <a:gd name="T0" fmla="*/ 72 w 74"/>
                <a:gd name="T1" fmla="*/ 0 h 16"/>
                <a:gd name="T2" fmla="*/ 58 w 74"/>
                <a:gd name="T3" fmla="*/ 4 h 16"/>
                <a:gd name="T4" fmla="*/ 37 w 74"/>
                <a:gd name="T5" fmla="*/ 8 h 16"/>
                <a:gd name="T6" fmla="*/ 15 w 74"/>
                <a:gd name="T7" fmla="*/ 5 h 16"/>
                <a:gd name="T8" fmla="*/ 2 w 74"/>
                <a:gd name="T9" fmla="*/ 2 h 16"/>
                <a:gd name="T10" fmla="*/ 0 w 74"/>
                <a:gd name="T11" fmla="*/ 9 h 16"/>
                <a:gd name="T12" fmla="*/ 14 w 74"/>
                <a:gd name="T13" fmla="*/ 12 h 16"/>
                <a:gd name="T14" fmla="*/ 37 w 74"/>
                <a:gd name="T15" fmla="*/ 15 h 16"/>
                <a:gd name="T16" fmla="*/ 60 w 74"/>
                <a:gd name="T17" fmla="*/ 11 h 16"/>
                <a:gd name="T18" fmla="*/ 74 w 74"/>
                <a:gd name="T19" fmla="*/ 8 h 16"/>
                <a:gd name="T20" fmla="*/ 72 w 74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16">
                  <a:moveTo>
                    <a:pt x="72" y="0"/>
                  </a:moveTo>
                  <a:cubicBezTo>
                    <a:pt x="72" y="0"/>
                    <a:pt x="66" y="2"/>
                    <a:pt x="58" y="4"/>
                  </a:cubicBezTo>
                  <a:cubicBezTo>
                    <a:pt x="51" y="6"/>
                    <a:pt x="42" y="8"/>
                    <a:pt x="37" y="8"/>
                  </a:cubicBezTo>
                  <a:cubicBezTo>
                    <a:pt x="31" y="8"/>
                    <a:pt x="22" y="7"/>
                    <a:pt x="15" y="5"/>
                  </a:cubicBezTo>
                  <a:cubicBezTo>
                    <a:pt x="8" y="3"/>
                    <a:pt x="2" y="2"/>
                    <a:pt x="2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6" y="11"/>
                    <a:pt x="14" y="12"/>
                  </a:cubicBezTo>
                  <a:cubicBezTo>
                    <a:pt x="21" y="14"/>
                    <a:pt x="30" y="16"/>
                    <a:pt x="37" y="15"/>
                  </a:cubicBezTo>
                  <a:cubicBezTo>
                    <a:pt x="44" y="15"/>
                    <a:pt x="53" y="13"/>
                    <a:pt x="60" y="11"/>
                  </a:cubicBezTo>
                  <a:cubicBezTo>
                    <a:pt x="68" y="9"/>
                    <a:pt x="74" y="8"/>
                    <a:pt x="74" y="8"/>
                  </a:cubicBezTo>
                  <a:lnTo>
                    <a:pt x="72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gradFill>
                  <a:gsLst>
                    <a:gs pos="2917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7" name="Freeform 16"/>
            <p:cNvSpPr>
              <a:spLocks/>
            </p:cNvSpPr>
            <p:nvPr/>
          </p:nvSpPr>
          <p:spPr bwMode="auto">
            <a:xfrm>
              <a:off x="870" y="3633"/>
              <a:ext cx="175" cy="29"/>
            </a:xfrm>
            <a:custGeom>
              <a:avLst/>
              <a:gdLst>
                <a:gd name="T0" fmla="*/ 72 w 73"/>
                <a:gd name="T1" fmla="*/ 0 h 12"/>
                <a:gd name="T2" fmla="*/ 36 w 73"/>
                <a:gd name="T3" fmla="*/ 4 h 12"/>
                <a:gd name="T4" fmla="*/ 1 w 73"/>
                <a:gd name="T5" fmla="*/ 2 h 12"/>
                <a:gd name="T6" fmla="*/ 0 w 73"/>
                <a:gd name="T7" fmla="*/ 9 h 12"/>
                <a:gd name="T8" fmla="*/ 37 w 73"/>
                <a:gd name="T9" fmla="*/ 11 h 12"/>
                <a:gd name="T10" fmla="*/ 73 w 73"/>
                <a:gd name="T11" fmla="*/ 8 h 12"/>
                <a:gd name="T12" fmla="*/ 72 w 7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2">
                  <a:moveTo>
                    <a:pt x="72" y="0"/>
                  </a:moveTo>
                  <a:cubicBezTo>
                    <a:pt x="72" y="0"/>
                    <a:pt x="48" y="4"/>
                    <a:pt x="36" y="4"/>
                  </a:cubicBezTo>
                  <a:cubicBezTo>
                    <a:pt x="25" y="4"/>
                    <a:pt x="1" y="2"/>
                    <a:pt x="1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24" y="12"/>
                    <a:pt x="37" y="11"/>
                  </a:cubicBezTo>
                  <a:cubicBezTo>
                    <a:pt x="49" y="11"/>
                    <a:pt x="73" y="8"/>
                    <a:pt x="73" y="8"/>
                  </a:cubicBezTo>
                  <a:lnTo>
                    <a:pt x="72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gradFill>
                  <a:gsLst>
                    <a:gs pos="2917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8" name="Freeform 17"/>
            <p:cNvSpPr>
              <a:spLocks/>
            </p:cNvSpPr>
            <p:nvPr/>
          </p:nvSpPr>
          <p:spPr bwMode="auto">
            <a:xfrm>
              <a:off x="875" y="3607"/>
              <a:ext cx="175" cy="26"/>
            </a:xfrm>
            <a:custGeom>
              <a:avLst/>
              <a:gdLst>
                <a:gd name="T0" fmla="*/ 72 w 73"/>
                <a:gd name="T1" fmla="*/ 0 h 11"/>
                <a:gd name="T2" fmla="*/ 36 w 73"/>
                <a:gd name="T3" fmla="*/ 4 h 11"/>
                <a:gd name="T4" fmla="*/ 1 w 73"/>
                <a:gd name="T5" fmla="*/ 1 h 11"/>
                <a:gd name="T6" fmla="*/ 0 w 73"/>
                <a:gd name="T7" fmla="*/ 9 h 11"/>
                <a:gd name="T8" fmla="*/ 36 w 73"/>
                <a:gd name="T9" fmla="*/ 11 h 11"/>
                <a:gd name="T10" fmla="*/ 73 w 73"/>
                <a:gd name="T11" fmla="*/ 7 h 11"/>
                <a:gd name="T12" fmla="*/ 72 w 7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1">
                  <a:moveTo>
                    <a:pt x="72" y="0"/>
                  </a:moveTo>
                  <a:cubicBezTo>
                    <a:pt x="72" y="0"/>
                    <a:pt x="48" y="3"/>
                    <a:pt x="36" y="4"/>
                  </a:cubicBezTo>
                  <a:cubicBezTo>
                    <a:pt x="25" y="4"/>
                    <a:pt x="1" y="1"/>
                    <a:pt x="1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24" y="11"/>
                    <a:pt x="36" y="11"/>
                  </a:cubicBezTo>
                  <a:cubicBezTo>
                    <a:pt x="49" y="11"/>
                    <a:pt x="73" y="7"/>
                    <a:pt x="73" y="7"/>
                  </a:cubicBezTo>
                  <a:lnTo>
                    <a:pt x="72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gradFill>
                  <a:gsLst>
                    <a:gs pos="2917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9" name="Freeform 18"/>
            <p:cNvSpPr>
              <a:spLocks/>
            </p:cNvSpPr>
            <p:nvPr/>
          </p:nvSpPr>
          <p:spPr bwMode="auto">
            <a:xfrm>
              <a:off x="870" y="3578"/>
              <a:ext cx="175" cy="29"/>
            </a:xfrm>
            <a:custGeom>
              <a:avLst/>
              <a:gdLst>
                <a:gd name="T0" fmla="*/ 72 w 73"/>
                <a:gd name="T1" fmla="*/ 0 h 12"/>
                <a:gd name="T2" fmla="*/ 37 w 73"/>
                <a:gd name="T3" fmla="*/ 4 h 12"/>
                <a:gd name="T4" fmla="*/ 1 w 73"/>
                <a:gd name="T5" fmla="*/ 2 h 12"/>
                <a:gd name="T6" fmla="*/ 0 w 73"/>
                <a:gd name="T7" fmla="*/ 10 h 12"/>
                <a:gd name="T8" fmla="*/ 37 w 73"/>
                <a:gd name="T9" fmla="*/ 12 h 12"/>
                <a:gd name="T10" fmla="*/ 73 w 73"/>
                <a:gd name="T11" fmla="*/ 8 h 12"/>
                <a:gd name="T12" fmla="*/ 72 w 7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2">
                  <a:moveTo>
                    <a:pt x="72" y="0"/>
                  </a:moveTo>
                  <a:cubicBezTo>
                    <a:pt x="72" y="0"/>
                    <a:pt x="48" y="4"/>
                    <a:pt x="37" y="4"/>
                  </a:cubicBezTo>
                  <a:cubicBezTo>
                    <a:pt x="25" y="4"/>
                    <a:pt x="1" y="2"/>
                    <a:pt x="1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24" y="12"/>
                    <a:pt x="37" y="12"/>
                  </a:cubicBezTo>
                  <a:cubicBezTo>
                    <a:pt x="49" y="11"/>
                    <a:pt x="73" y="8"/>
                    <a:pt x="73" y="8"/>
                  </a:cubicBezTo>
                  <a:lnTo>
                    <a:pt x="72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gradFill>
                  <a:gsLst>
                    <a:gs pos="2917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14" name="Freeform 13"/>
          <p:cNvSpPr/>
          <p:nvPr/>
        </p:nvSpPr>
        <p:spPr bwMode="auto">
          <a:xfrm>
            <a:off x="2452492" y="2170450"/>
            <a:ext cx="7323981" cy="2661043"/>
          </a:xfrm>
          <a:custGeom>
            <a:avLst/>
            <a:gdLst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5068110 w 7470842"/>
              <a:gd name="connsiteY5" fmla="*/ 19455 h 2714017"/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4839510 w 7470842"/>
              <a:gd name="connsiteY5" fmla="*/ 27075 h 271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70842" h="2714017">
                <a:moveTo>
                  <a:pt x="2587557" y="0"/>
                </a:moveTo>
                <a:lnTo>
                  <a:pt x="0" y="0"/>
                </a:lnTo>
                <a:lnTo>
                  <a:pt x="0" y="2714017"/>
                </a:lnTo>
                <a:lnTo>
                  <a:pt x="7470842" y="2714017"/>
                </a:lnTo>
                <a:lnTo>
                  <a:pt x="7470842" y="19455"/>
                </a:lnTo>
                <a:lnTo>
                  <a:pt x="4839510" y="27075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452491" y="2176906"/>
            <a:ext cx="7323982" cy="2653027"/>
          </a:xfrm>
          <a:noFill/>
        </p:spPr>
        <p:txBody>
          <a:bodyPr vert="horz" wrap="square" lIns="146304" tIns="91440" rIns="146304" bIns="0" rtlCol="0" anchor="ctr" anchorCtr="0">
            <a:noAutofit/>
          </a:bodyPr>
          <a:lstStyle>
            <a:lvl1pPr algn="ctr">
              <a:defRPr lang="en-US" sz="5294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97489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Title_Accent Color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7" t="16700" r="963" b="454"/>
          <a:stretch/>
        </p:blipFill>
        <p:spPr>
          <a:xfrm>
            <a:off x="-19487" y="0"/>
            <a:ext cx="1219917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-19487" y="0"/>
            <a:ext cx="12211487" cy="6858000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258763" y="6149978"/>
            <a:ext cx="2627220" cy="561290"/>
          </a:xfrm>
          <a:prstGeom prst="rect">
            <a:avLst/>
          </a:prstGeom>
          <a:noFill/>
        </p:spPr>
        <p:txBody>
          <a:bodyPr wrap="none" lIns="179285" tIns="143428" rIns="89642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Worldwide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</a:rPr>
              <a:t> 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Readiness</a:t>
            </a:r>
          </a:p>
        </p:txBody>
      </p:sp>
      <p:sp>
        <p:nvSpPr>
          <p:cNvPr id="69" name="Freeform 7"/>
          <p:cNvSpPr>
            <a:spLocks noEditPoints="1"/>
          </p:cNvSpPr>
          <p:nvPr userDrawn="1"/>
        </p:nvSpPr>
        <p:spPr bwMode="auto">
          <a:xfrm>
            <a:off x="5524016" y="1773209"/>
            <a:ext cx="1179683" cy="794482"/>
          </a:xfrm>
          <a:custGeom>
            <a:avLst/>
            <a:gdLst>
              <a:gd name="T0" fmla="*/ 149 w 187"/>
              <a:gd name="T1" fmla="*/ 58 h 126"/>
              <a:gd name="T2" fmla="*/ 147 w 187"/>
              <a:gd name="T3" fmla="*/ 57 h 126"/>
              <a:gd name="T4" fmla="*/ 94 w 187"/>
              <a:gd name="T5" fmla="*/ 23 h 126"/>
              <a:gd name="T6" fmla="*/ 62 w 187"/>
              <a:gd name="T7" fmla="*/ 39 h 126"/>
              <a:gd name="T8" fmla="*/ 73 w 187"/>
              <a:gd name="T9" fmla="*/ 20 h 126"/>
              <a:gd name="T10" fmla="*/ 139 w 187"/>
              <a:gd name="T11" fmla="*/ 29 h 126"/>
              <a:gd name="T12" fmla="*/ 165 w 187"/>
              <a:gd name="T13" fmla="*/ 30 h 126"/>
              <a:gd name="T14" fmla="*/ 157 w 187"/>
              <a:gd name="T15" fmla="*/ 81 h 126"/>
              <a:gd name="T16" fmla="*/ 131 w 187"/>
              <a:gd name="T17" fmla="*/ 68 h 126"/>
              <a:gd name="T18" fmla="*/ 143 w 187"/>
              <a:gd name="T19" fmla="*/ 87 h 126"/>
              <a:gd name="T20" fmla="*/ 117 w 187"/>
              <a:gd name="T21" fmla="*/ 81 h 126"/>
              <a:gd name="T22" fmla="*/ 130 w 187"/>
              <a:gd name="T23" fmla="*/ 103 h 126"/>
              <a:gd name="T24" fmla="*/ 111 w 187"/>
              <a:gd name="T25" fmla="*/ 98 h 126"/>
              <a:gd name="T26" fmla="*/ 98 w 187"/>
              <a:gd name="T27" fmla="*/ 90 h 126"/>
              <a:gd name="T28" fmla="*/ 82 w 187"/>
              <a:gd name="T29" fmla="*/ 77 h 126"/>
              <a:gd name="T30" fmla="*/ 67 w 187"/>
              <a:gd name="T31" fmla="*/ 70 h 126"/>
              <a:gd name="T32" fmla="*/ 49 w 187"/>
              <a:gd name="T33" fmla="*/ 67 h 126"/>
              <a:gd name="T34" fmla="*/ 20 w 187"/>
              <a:gd name="T35" fmla="*/ 70 h 126"/>
              <a:gd name="T36" fmla="*/ 50 w 187"/>
              <a:gd name="T37" fmla="*/ 40 h 126"/>
              <a:gd name="T38" fmla="*/ 94 w 187"/>
              <a:gd name="T39" fmla="*/ 33 h 126"/>
              <a:gd name="T40" fmla="*/ 136 w 187"/>
              <a:gd name="T41" fmla="*/ 60 h 126"/>
              <a:gd name="T42" fmla="*/ 156 w 187"/>
              <a:gd name="T43" fmla="*/ 75 h 126"/>
              <a:gd name="T44" fmla="*/ 113 w 187"/>
              <a:gd name="T45" fmla="*/ 115 h 126"/>
              <a:gd name="T46" fmla="*/ 110 w 187"/>
              <a:gd name="T47" fmla="*/ 108 h 126"/>
              <a:gd name="T48" fmla="*/ 114 w 187"/>
              <a:gd name="T49" fmla="*/ 113 h 126"/>
              <a:gd name="T50" fmla="*/ 91 w 187"/>
              <a:gd name="T51" fmla="*/ 115 h 126"/>
              <a:gd name="T52" fmla="*/ 99 w 187"/>
              <a:gd name="T53" fmla="*/ 98 h 126"/>
              <a:gd name="T54" fmla="*/ 98 w 187"/>
              <a:gd name="T55" fmla="*/ 115 h 126"/>
              <a:gd name="T56" fmla="*/ 74 w 187"/>
              <a:gd name="T57" fmla="*/ 113 h 126"/>
              <a:gd name="T58" fmla="*/ 77 w 187"/>
              <a:gd name="T59" fmla="*/ 89 h 126"/>
              <a:gd name="T60" fmla="*/ 86 w 187"/>
              <a:gd name="T61" fmla="*/ 87 h 126"/>
              <a:gd name="T62" fmla="*/ 83 w 187"/>
              <a:gd name="T63" fmla="*/ 109 h 126"/>
              <a:gd name="T64" fmla="*/ 56 w 187"/>
              <a:gd name="T65" fmla="*/ 106 h 126"/>
              <a:gd name="T66" fmla="*/ 52 w 187"/>
              <a:gd name="T67" fmla="*/ 96 h 126"/>
              <a:gd name="T68" fmla="*/ 56 w 187"/>
              <a:gd name="T69" fmla="*/ 84 h 126"/>
              <a:gd name="T70" fmla="*/ 64 w 187"/>
              <a:gd name="T71" fmla="*/ 78 h 126"/>
              <a:gd name="T72" fmla="*/ 69 w 187"/>
              <a:gd name="T73" fmla="*/ 86 h 126"/>
              <a:gd name="T74" fmla="*/ 62 w 187"/>
              <a:gd name="T75" fmla="*/ 103 h 126"/>
              <a:gd name="T76" fmla="*/ 36 w 187"/>
              <a:gd name="T77" fmla="*/ 93 h 126"/>
              <a:gd name="T78" fmla="*/ 44 w 187"/>
              <a:gd name="T79" fmla="*/ 75 h 126"/>
              <a:gd name="T80" fmla="*/ 44 w 187"/>
              <a:gd name="T81" fmla="*/ 93 h 126"/>
              <a:gd name="T82" fmla="*/ 170 w 187"/>
              <a:gd name="T83" fmla="*/ 23 h 126"/>
              <a:gd name="T84" fmla="*/ 151 w 187"/>
              <a:gd name="T85" fmla="*/ 23 h 126"/>
              <a:gd name="T86" fmla="*/ 147 w 187"/>
              <a:gd name="T87" fmla="*/ 23 h 126"/>
              <a:gd name="T88" fmla="*/ 94 w 187"/>
              <a:gd name="T89" fmla="*/ 0 h 126"/>
              <a:gd name="T90" fmla="*/ 65 w 187"/>
              <a:gd name="T91" fmla="*/ 14 h 126"/>
              <a:gd name="T92" fmla="*/ 13 w 187"/>
              <a:gd name="T93" fmla="*/ 75 h 126"/>
              <a:gd name="T94" fmla="*/ 28 w 187"/>
              <a:gd name="T95" fmla="*/ 86 h 126"/>
              <a:gd name="T96" fmla="*/ 40 w 187"/>
              <a:gd name="T97" fmla="*/ 104 h 126"/>
              <a:gd name="T98" fmla="*/ 53 w 187"/>
              <a:gd name="T99" fmla="*/ 114 h 126"/>
              <a:gd name="T100" fmla="*/ 71 w 187"/>
              <a:gd name="T101" fmla="*/ 121 h 126"/>
              <a:gd name="T102" fmla="*/ 84 w 187"/>
              <a:gd name="T103" fmla="*/ 121 h 126"/>
              <a:gd name="T104" fmla="*/ 103 w 187"/>
              <a:gd name="T105" fmla="*/ 122 h 126"/>
              <a:gd name="T106" fmla="*/ 123 w 187"/>
              <a:gd name="T107" fmla="*/ 115 h 126"/>
              <a:gd name="T108" fmla="*/ 152 w 187"/>
              <a:gd name="T109" fmla="*/ 100 h 126"/>
              <a:gd name="T110" fmla="*/ 166 w 187"/>
              <a:gd name="T111" fmla="*/ 81 h 126"/>
              <a:gd name="T112" fmla="*/ 186 w 187"/>
              <a:gd name="T113" fmla="*/ 8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87" h="126">
                <a:moveTo>
                  <a:pt x="172" y="75"/>
                </a:moveTo>
                <a:cubicBezTo>
                  <a:pt x="164" y="69"/>
                  <a:pt x="164" y="69"/>
                  <a:pt x="164" y="69"/>
                </a:cubicBezTo>
                <a:cubicBezTo>
                  <a:pt x="151" y="60"/>
                  <a:pt x="149" y="59"/>
                  <a:pt x="149" y="58"/>
                </a:cubicBezTo>
                <a:cubicBezTo>
                  <a:pt x="148" y="58"/>
                  <a:pt x="148" y="58"/>
                  <a:pt x="148" y="58"/>
                </a:cubicBezTo>
                <a:cubicBezTo>
                  <a:pt x="148" y="58"/>
                  <a:pt x="148" y="58"/>
                  <a:pt x="148" y="58"/>
                </a:cubicBezTo>
                <a:cubicBezTo>
                  <a:pt x="148" y="57"/>
                  <a:pt x="147" y="57"/>
                  <a:pt x="147" y="57"/>
                </a:cubicBezTo>
                <a:cubicBezTo>
                  <a:pt x="136" y="49"/>
                  <a:pt x="136" y="49"/>
                  <a:pt x="136" y="49"/>
                </a:cubicBezTo>
                <a:cubicBezTo>
                  <a:pt x="113" y="32"/>
                  <a:pt x="113" y="32"/>
                  <a:pt x="113" y="32"/>
                </a:cubicBezTo>
                <a:cubicBezTo>
                  <a:pt x="94" y="23"/>
                  <a:pt x="94" y="23"/>
                  <a:pt x="94" y="23"/>
                </a:cubicBezTo>
                <a:cubicBezTo>
                  <a:pt x="66" y="38"/>
                  <a:pt x="66" y="38"/>
                  <a:pt x="66" y="38"/>
                </a:cubicBezTo>
                <a:cubicBezTo>
                  <a:pt x="65" y="39"/>
                  <a:pt x="65" y="39"/>
                  <a:pt x="65" y="39"/>
                </a:cubicBezTo>
                <a:cubicBezTo>
                  <a:pt x="65" y="39"/>
                  <a:pt x="63" y="39"/>
                  <a:pt x="62" y="39"/>
                </a:cubicBezTo>
                <a:cubicBezTo>
                  <a:pt x="60" y="39"/>
                  <a:pt x="58" y="37"/>
                  <a:pt x="58" y="36"/>
                </a:cubicBezTo>
                <a:cubicBezTo>
                  <a:pt x="56" y="32"/>
                  <a:pt x="57" y="28"/>
                  <a:pt x="60" y="27"/>
                </a:cubicBezTo>
                <a:cubicBezTo>
                  <a:pt x="73" y="20"/>
                  <a:pt x="73" y="20"/>
                  <a:pt x="73" y="20"/>
                </a:cubicBezTo>
                <a:cubicBezTo>
                  <a:pt x="90" y="10"/>
                  <a:pt x="90" y="10"/>
                  <a:pt x="90" y="10"/>
                </a:cubicBezTo>
                <a:cubicBezTo>
                  <a:pt x="92" y="9"/>
                  <a:pt x="94" y="8"/>
                  <a:pt x="96" y="9"/>
                </a:cubicBezTo>
                <a:cubicBezTo>
                  <a:pt x="139" y="29"/>
                  <a:pt x="139" y="29"/>
                  <a:pt x="139" y="29"/>
                </a:cubicBezTo>
                <a:cubicBezTo>
                  <a:pt x="141" y="30"/>
                  <a:pt x="144" y="31"/>
                  <a:pt x="146" y="32"/>
                </a:cubicBezTo>
                <a:cubicBezTo>
                  <a:pt x="147" y="32"/>
                  <a:pt x="149" y="32"/>
                  <a:pt x="151" y="32"/>
                </a:cubicBezTo>
                <a:cubicBezTo>
                  <a:pt x="155" y="32"/>
                  <a:pt x="162" y="31"/>
                  <a:pt x="165" y="30"/>
                </a:cubicBezTo>
                <a:cubicBezTo>
                  <a:pt x="169" y="35"/>
                  <a:pt x="178" y="50"/>
                  <a:pt x="177" y="74"/>
                </a:cubicBezTo>
                <a:lnTo>
                  <a:pt x="172" y="75"/>
                </a:lnTo>
                <a:close/>
                <a:moveTo>
                  <a:pt x="157" y="81"/>
                </a:moveTo>
                <a:cubicBezTo>
                  <a:pt x="155" y="82"/>
                  <a:pt x="154" y="82"/>
                  <a:pt x="150" y="80"/>
                </a:cubicBezTo>
                <a:cubicBezTo>
                  <a:pt x="149" y="80"/>
                  <a:pt x="149" y="79"/>
                  <a:pt x="148" y="79"/>
                </a:cubicBezTo>
                <a:cubicBezTo>
                  <a:pt x="147" y="78"/>
                  <a:pt x="139" y="73"/>
                  <a:pt x="131" y="68"/>
                </a:cubicBezTo>
                <a:cubicBezTo>
                  <a:pt x="127" y="75"/>
                  <a:pt x="127" y="75"/>
                  <a:pt x="127" y="75"/>
                </a:cubicBezTo>
                <a:cubicBezTo>
                  <a:pt x="143" y="87"/>
                  <a:pt x="143" y="87"/>
                  <a:pt x="143" y="87"/>
                </a:cubicBezTo>
                <a:cubicBezTo>
                  <a:pt x="143" y="87"/>
                  <a:pt x="143" y="87"/>
                  <a:pt x="143" y="87"/>
                </a:cubicBezTo>
                <a:cubicBezTo>
                  <a:pt x="145" y="88"/>
                  <a:pt x="147" y="92"/>
                  <a:pt x="145" y="94"/>
                </a:cubicBezTo>
                <a:cubicBezTo>
                  <a:pt x="143" y="98"/>
                  <a:pt x="139" y="96"/>
                  <a:pt x="138" y="96"/>
                </a:cubicBezTo>
                <a:cubicBezTo>
                  <a:pt x="117" y="81"/>
                  <a:pt x="117" y="81"/>
                  <a:pt x="117" y="81"/>
                </a:cubicBezTo>
                <a:cubicBezTo>
                  <a:pt x="112" y="88"/>
                  <a:pt x="112" y="88"/>
                  <a:pt x="112" y="88"/>
                </a:cubicBezTo>
                <a:cubicBezTo>
                  <a:pt x="128" y="100"/>
                  <a:pt x="128" y="100"/>
                  <a:pt x="128" y="100"/>
                </a:cubicBezTo>
                <a:cubicBezTo>
                  <a:pt x="129" y="101"/>
                  <a:pt x="130" y="102"/>
                  <a:pt x="130" y="103"/>
                </a:cubicBezTo>
                <a:cubicBezTo>
                  <a:pt x="130" y="104"/>
                  <a:pt x="129" y="105"/>
                  <a:pt x="128" y="106"/>
                </a:cubicBezTo>
                <a:cubicBezTo>
                  <a:pt x="127" y="107"/>
                  <a:pt x="122" y="106"/>
                  <a:pt x="117" y="102"/>
                </a:cubicBezTo>
                <a:cubicBezTo>
                  <a:pt x="111" y="98"/>
                  <a:pt x="111" y="98"/>
                  <a:pt x="111" y="98"/>
                </a:cubicBezTo>
                <a:cubicBezTo>
                  <a:pt x="110" y="95"/>
                  <a:pt x="107" y="92"/>
                  <a:pt x="103" y="90"/>
                </a:cubicBezTo>
                <a:cubicBezTo>
                  <a:pt x="102" y="90"/>
                  <a:pt x="101" y="90"/>
                  <a:pt x="99" y="90"/>
                </a:cubicBezTo>
                <a:cubicBezTo>
                  <a:pt x="99" y="90"/>
                  <a:pt x="98" y="90"/>
                  <a:pt x="98" y="90"/>
                </a:cubicBezTo>
                <a:cubicBezTo>
                  <a:pt x="97" y="85"/>
                  <a:pt x="94" y="80"/>
                  <a:pt x="89" y="78"/>
                </a:cubicBezTo>
                <a:cubicBezTo>
                  <a:pt x="88" y="78"/>
                  <a:pt x="88" y="78"/>
                  <a:pt x="88" y="78"/>
                </a:cubicBezTo>
                <a:cubicBezTo>
                  <a:pt x="86" y="77"/>
                  <a:pt x="84" y="77"/>
                  <a:pt x="82" y="77"/>
                </a:cubicBezTo>
                <a:cubicBezTo>
                  <a:pt x="81" y="77"/>
                  <a:pt x="79" y="77"/>
                  <a:pt x="77" y="78"/>
                </a:cubicBezTo>
                <a:cubicBezTo>
                  <a:pt x="76" y="75"/>
                  <a:pt x="73" y="72"/>
                  <a:pt x="70" y="71"/>
                </a:cubicBezTo>
                <a:cubicBezTo>
                  <a:pt x="67" y="70"/>
                  <a:pt x="67" y="70"/>
                  <a:pt x="67" y="70"/>
                </a:cubicBezTo>
                <a:cubicBezTo>
                  <a:pt x="66" y="69"/>
                  <a:pt x="64" y="69"/>
                  <a:pt x="62" y="69"/>
                </a:cubicBezTo>
                <a:cubicBezTo>
                  <a:pt x="59" y="69"/>
                  <a:pt x="57" y="70"/>
                  <a:pt x="55" y="71"/>
                </a:cubicBezTo>
                <a:cubicBezTo>
                  <a:pt x="53" y="69"/>
                  <a:pt x="51" y="68"/>
                  <a:pt x="49" y="67"/>
                </a:cubicBezTo>
                <a:cubicBezTo>
                  <a:pt x="48" y="66"/>
                  <a:pt x="46" y="66"/>
                  <a:pt x="44" y="66"/>
                </a:cubicBezTo>
                <a:cubicBezTo>
                  <a:pt x="40" y="66"/>
                  <a:pt x="36" y="69"/>
                  <a:pt x="33" y="72"/>
                </a:cubicBezTo>
                <a:cubicBezTo>
                  <a:pt x="20" y="70"/>
                  <a:pt x="20" y="70"/>
                  <a:pt x="20" y="70"/>
                </a:cubicBezTo>
                <a:cubicBezTo>
                  <a:pt x="18" y="62"/>
                  <a:pt x="14" y="37"/>
                  <a:pt x="30" y="23"/>
                </a:cubicBezTo>
                <a:cubicBezTo>
                  <a:pt x="51" y="23"/>
                  <a:pt x="51" y="23"/>
                  <a:pt x="51" y="23"/>
                </a:cubicBezTo>
                <a:cubicBezTo>
                  <a:pt x="48" y="28"/>
                  <a:pt x="47" y="34"/>
                  <a:pt x="50" y="40"/>
                </a:cubicBezTo>
                <a:cubicBezTo>
                  <a:pt x="52" y="45"/>
                  <a:pt x="57" y="48"/>
                  <a:pt x="62" y="48"/>
                </a:cubicBezTo>
                <a:cubicBezTo>
                  <a:pt x="65" y="48"/>
                  <a:pt x="68" y="48"/>
                  <a:pt x="71" y="45"/>
                </a:cubicBezTo>
                <a:cubicBezTo>
                  <a:pt x="94" y="33"/>
                  <a:pt x="94" y="33"/>
                  <a:pt x="94" y="33"/>
                </a:cubicBezTo>
                <a:cubicBezTo>
                  <a:pt x="104" y="37"/>
                  <a:pt x="104" y="37"/>
                  <a:pt x="104" y="37"/>
                </a:cubicBezTo>
                <a:cubicBezTo>
                  <a:pt x="135" y="60"/>
                  <a:pt x="135" y="60"/>
                  <a:pt x="135" y="60"/>
                </a:cubicBezTo>
                <a:cubicBezTo>
                  <a:pt x="136" y="60"/>
                  <a:pt x="136" y="60"/>
                  <a:pt x="136" y="60"/>
                </a:cubicBezTo>
                <a:cubicBezTo>
                  <a:pt x="137" y="60"/>
                  <a:pt x="137" y="61"/>
                  <a:pt x="137" y="61"/>
                </a:cubicBezTo>
                <a:cubicBezTo>
                  <a:pt x="150" y="71"/>
                  <a:pt x="150" y="71"/>
                  <a:pt x="150" y="71"/>
                </a:cubicBezTo>
                <a:cubicBezTo>
                  <a:pt x="156" y="75"/>
                  <a:pt x="156" y="75"/>
                  <a:pt x="156" y="75"/>
                </a:cubicBezTo>
                <a:cubicBezTo>
                  <a:pt x="157" y="76"/>
                  <a:pt x="157" y="77"/>
                  <a:pt x="157" y="78"/>
                </a:cubicBezTo>
                <a:cubicBezTo>
                  <a:pt x="157" y="79"/>
                  <a:pt x="157" y="80"/>
                  <a:pt x="157" y="81"/>
                </a:cubicBezTo>
                <a:moveTo>
                  <a:pt x="113" y="115"/>
                </a:moveTo>
                <a:cubicBezTo>
                  <a:pt x="113" y="116"/>
                  <a:pt x="110" y="117"/>
                  <a:pt x="108" y="115"/>
                </a:cubicBezTo>
                <a:cubicBezTo>
                  <a:pt x="107" y="115"/>
                  <a:pt x="107" y="115"/>
                  <a:pt x="107" y="115"/>
                </a:cubicBezTo>
                <a:cubicBezTo>
                  <a:pt x="110" y="108"/>
                  <a:pt x="110" y="108"/>
                  <a:pt x="110" y="108"/>
                </a:cubicBezTo>
                <a:cubicBezTo>
                  <a:pt x="110" y="108"/>
                  <a:pt x="110" y="108"/>
                  <a:pt x="110" y="108"/>
                </a:cubicBezTo>
                <a:cubicBezTo>
                  <a:pt x="112" y="110"/>
                  <a:pt x="112" y="110"/>
                  <a:pt x="112" y="110"/>
                </a:cubicBezTo>
                <a:cubicBezTo>
                  <a:pt x="113" y="111"/>
                  <a:pt x="114" y="112"/>
                  <a:pt x="114" y="113"/>
                </a:cubicBezTo>
                <a:cubicBezTo>
                  <a:pt x="114" y="113"/>
                  <a:pt x="114" y="114"/>
                  <a:pt x="113" y="115"/>
                </a:cubicBezTo>
                <a:moveTo>
                  <a:pt x="93" y="117"/>
                </a:moveTo>
                <a:cubicBezTo>
                  <a:pt x="92" y="117"/>
                  <a:pt x="91" y="116"/>
                  <a:pt x="91" y="115"/>
                </a:cubicBezTo>
                <a:cubicBezTo>
                  <a:pt x="91" y="114"/>
                  <a:pt x="91" y="113"/>
                  <a:pt x="91" y="112"/>
                </a:cubicBezTo>
                <a:cubicBezTo>
                  <a:pt x="95" y="101"/>
                  <a:pt x="95" y="101"/>
                  <a:pt x="95" y="101"/>
                </a:cubicBezTo>
                <a:cubicBezTo>
                  <a:pt x="96" y="99"/>
                  <a:pt x="97" y="98"/>
                  <a:pt x="99" y="98"/>
                </a:cubicBezTo>
                <a:cubicBezTo>
                  <a:pt x="99" y="98"/>
                  <a:pt x="100" y="98"/>
                  <a:pt x="100" y="99"/>
                </a:cubicBezTo>
                <a:cubicBezTo>
                  <a:pt x="102" y="99"/>
                  <a:pt x="103" y="101"/>
                  <a:pt x="102" y="103"/>
                </a:cubicBezTo>
                <a:cubicBezTo>
                  <a:pt x="98" y="115"/>
                  <a:pt x="98" y="115"/>
                  <a:pt x="98" y="115"/>
                </a:cubicBezTo>
                <a:cubicBezTo>
                  <a:pt x="97" y="117"/>
                  <a:pt x="95" y="118"/>
                  <a:pt x="93" y="117"/>
                </a:cubicBezTo>
                <a:moveTo>
                  <a:pt x="75" y="113"/>
                </a:moveTo>
                <a:cubicBezTo>
                  <a:pt x="74" y="113"/>
                  <a:pt x="74" y="113"/>
                  <a:pt x="74" y="113"/>
                </a:cubicBezTo>
                <a:cubicBezTo>
                  <a:pt x="71" y="112"/>
                  <a:pt x="70" y="108"/>
                  <a:pt x="71" y="106"/>
                </a:cubicBezTo>
                <a:cubicBezTo>
                  <a:pt x="76" y="91"/>
                  <a:pt x="76" y="91"/>
                  <a:pt x="76" y="91"/>
                </a:cubicBezTo>
                <a:cubicBezTo>
                  <a:pt x="77" y="89"/>
                  <a:pt x="77" y="89"/>
                  <a:pt x="77" y="89"/>
                </a:cubicBezTo>
                <a:cubicBezTo>
                  <a:pt x="78" y="87"/>
                  <a:pt x="80" y="86"/>
                  <a:pt x="82" y="86"/>
                </a:cubicBezTo>
                <a:cubicBezTo>
                  <a:pt x="83" y="86"/>
                  <a:pt x="84" y="86"/>
                  <a:pt x="84" y="86"/>
                </a:cubicBezTo>
                <a:cubicBezTo>
                  <a:pt x="86" y="87"/>
                  <a:pt x="86" y="87"/>
                  <a:pt x="86" y="87"/>
                </a:cubicBezTo>
                <a:cubicBezTo>
                  <a:pt x="89" y="88"/>
                  <a:pt x="90" y="91"/>
                  <a:pt x="89" y="94"/>
                </a:cubicBezTo>
                <a:cubicBezTo>
                  <a:pt x="83" y="109"/>
                  <a:pt x="83" y="109"/>
                  <a:pt x="83" y="109"/>
                </a:cubicBezTo>
                <a:cubicBezTo>
                  <a:pt x="83" y="109"/>
                  <a:pt x="83" y="109"/>
                  <a:pt x="83" y="109"/>
                </a:cubicBezTo>
                <a:cubicBezTo>
                  <a:pt x="82" y="110"/>
                  <a:pt x="82" y="110"/>
                  <a:pt x="82" y="110"/>
                </a:cubicBezTo>
                <a:cubicBezTo>
                  <a:pt x="81" y="113"/>
                  <a:pt x="78" y="115"/>
                  <a:pt x="75" y="113"/>
                </a:cubicBezTo>
                <a:moveTo>
                  <a:pt x="56" y="106"/>
                </a:moveTo>
                <a:cubicBezTo>
                  <a:pt x="53" y="105"/>
                  <a:pt x="53" y="105"/>
                  <a:pt x="53" y="105"/>
                </a:cubicBezTo>
                <a:cubicBezTo>
                  <a:pt x="51" y="104"/>
                  <a:pt x="50" y="101"/>
                  <a:pt x="51" y="98"/>
                </a:cubicBezTo>
                <a:cubicBezTo>
                  <a:pt x="52" y="96"/>
                  <a:pt x="52" y="96"/>
                  <a:pt x="52" y="96"/>
                </a:cubicBezTo>
                <a:cubicBezTo>
                  <a:pt x="52" y="96"/>
                  <a:pt x="52" y="96"/>
                  <a:pt x="52" y="96"/>
                </a:cubicBezTo>
                <a:cubicBezTo>
                  <a:pt x="56" y="84"/>
                  <a:pt x="56" y="84"/>
                  <a:pt x="56" y="84"/>
                </a:cubicBezTo>
                <a:cubicBezTo>
                  <a:pt x="56" y="84"/>
                  <a:pt x="56" y="84"/>
                  <a:pt x="56" y="84"/>
                </a:cubicBezTo>
                <a:cubicBezTo>
                  <a:pt x="58" y="81"/>
                  <a:pt x="58" y="81"/>
                  <a:pt x="58" y="81"/>
                </a:cubicBezTo>
                <a:cubicBezTo>
                  <a:pt x="58" y="79"/>
                  <a:pt x="60" y="78"/>
                  <a:pt x="62" y="78"/>
                </a:cubicBezTo>
                <a:cubicBezTo>
                  <a:pt x="63" y="78"/>
                  <a:pt x="63" y="78"/>
                  <a:pt x="64" y="78"/>
                </a:cubicBezTo>
                <a:cubicBezTo>
                  <a:pt x="66" y="79"/>
                  <a:pt x="66" y="79"/>
                  <a:pt x="66" y="79"/>
                </a:cubicBezTo>
                <a:cubicBezTo>
                  <a:pt x="69" y="80"/>
                  <a:pt x="70" y="83"/>
                  <a:pt x="69" y="85"/>
                </a:cubicBezTo>
                <a:cubicBezTo>
                  <a:pt x="69" y="86"/>
                  <a:pt x="69" y="86"/>
                  <a:pt x="69" y="86"/>
                </a:cubicBezTo>
                <a:cubicBezTo>
                  <a:pt x="69" y="86"/>
                  <a:pt x="69" y="86"/>
                  <a:pt x="69" y="86"/>
                </a:cubicBezTo>
                <a:cubicBezTo>
                  <a:pt x="68" y="88"/>
                  <a:pt x="68" y="88"/>
                  <a:pt x="68" y="88"/>
                </a:cubicBezTo>
                <a:cubicBezTo>
                  <a:pt x="62" y="103"/>
                  <a:pt x="62" y="103"/>
                  <a:pt x="62" y="103"/>
                </a:cubicBezTo>
                <a:cubicBezTo>
                  <a:pt x="61" y="106"/>
                  <a:pt x="58" y="107"/>
                  <a:pt x="56" y="106"/>
                </a:cubicBezTo>
                <a:moveTo>
                  <a:pt x="38" y="95"/>
                </a:moveTo>
                <a:cubicBezTo>
                  <a:pt x="37" y="94"/>
                  <a:pt x="36" y="94"/>
                  <a:pt x="36" y="93"/>
                </a:cubicBezTo>
                <a:cubicBezTo>
                  <a:pt x="35" y="92"/>
                  <a:pt x="35" y="91"/>
                  <a:pt x="36" y="90"/>
                </a:cubicBezTo>
                <a:cubicBezTo>
                  <a:pt x="41" y="77"/>
                  <a:pt x="41" y="77"/>
                  <a:pt x="41" y="77"/>
                </a:cubicBezTo>
                <a:cubicBezTo>
                  <a:pt x="41" y="76"/>
                  <a:pt x="43" y="75"/>
                  <a:pt x="44" y="75"/>
                </a:cubicBezTo>
                <a:cubicBezTo>
                  <a:pt x="45" y="75"/>
                  <a:pt x="45" y="75"/>
                  <a:pt x="46" y="75"/>
                </a:cubicBezTo>
                <a:cubicBezTo>
                  <a:pt x="48" y="76"/>
                  <a:pt x="49" y="78"/>
                  <a:pt x="48" y="80"/>
                </a:cubicBezTo>
                <a:cubicBezTo>
                  <a:pt x="44" y="93"/>
                  <a:pt x="44" y="93"/>
                  <a:pt x="44" y="93"/>
                </a:cubicBezTo>
                <a:cubicBezTo>
                  <a:pt x="43" y="94"/>
                  <a:pt x="41" y="95"/>
                  <a:pt x="40" y="95"/>
                </a:cubicBezTo>
                <a:cubicBezTo>
                  <a:pt x="39" y="95"/>
                  <a:pt x="39" y="95"/>
                  <a:pt x="38" y="95"/>
                </a:cubicBezTo>
                <a:moveTo>
                  <a:pt x="170" y="23"/>
                </a:moveTo>
                <a:cubicBezTo>
                  <a:pt x="169" y="21"/>
                  <a:pt x="169" y="21"/>
                  <a:pt x="169" y="21"/>
                </a:cubicBezTo>
                <a:cubicBezTo>
                  <a:pt x="166" y="22"/>
                  <a:pt x="166" y="22"/>
                  <a:pt x="166" y="22"/>
                </a:cubicBezTo>
                <a:cubicBezTo>
                  <a:pt x="166" y="22"/>
                  <a:pt x="157" y="23"/>
                  <a:pt x="151" y="23"/>
                </a:cubicBezTo>
                <a:cubicBezTo>
                  <a:pt x="149" y="23"/>
                  <a:pt x="148" y="23"/>
                  <a:pt x="148" y="23"/>
                </a:cubicBezTo>
                <a:cubicBezTo>
                  <a:pt x="148" y="23"/>
                  <a:pt x="148" y="23"/>
                  <a:pt x="148" y="23"/>
                </a:cubicBezTo>
                <a:cubicBezTo>
                  <a:pt x="147" y="23"/>
                  <a:pt x="147" y="23"/>
                  <a:pt x="147" y="23"/>
                </a:cubicBezTo>
                <a:cubicBezTo>
                  <a:pt x="146" y="23"/>
                  <a:pt x="145" y="23"/>
                  <a:pt x="143" y="21"/>
                </a:cubicBezTo>
                <a:cubicBezTo>
                  <a:pt x="100" y="1"/>
                  <a:pt x="100" y="1"/>
                  <a:pt x="100" y="1"/>
                </a:cubicBezTo>
                <a:cubicBezTo>
                  <a:pt x="98" y="1"/>
                  <a:pt x="96" y="0"/>
                  <a:pt x="94" y="0"/>
                </a:cubicBezTo>
                <a:cubicBezTo>
                  <a:pt x="91" y="0"/>
                  <a:pt x="88" y="1"/>
                  <a:pt x="86" y="2"/>
                </a:cubicBezTo>
                <a:cubicBezTo>
                  <a:pt x="69" y="12"/>
                  <a:pt x="69" y="12"/>
                  <a:pt x="69" y="12"/>
                </a:cubicBezTo>
                <a:cubicBezTo>
                  <a:pt x="65" y="14"/>
                  <a:pt x="65" y="14"/>
                  <a:pt x="65" y="14"/>
                </a:cubicBezTo>
                <a:cubicBezTo>
                  <a:pt x="27" y="14"/>
                  <a:pt x="27" y="14"/>
                  <a:pt x="27" y="14"/>
                </a:cubicBezTo>
                <a:cubicBezTo>
                  <a:pt x="26" y="15"/>
                  <a:pt x="26" y="15"/>
                  <a:pt x="26" y="15"/>
                </a:cubicBezTo>
                <a:cubicBezTo>
                  <a:pt x="0" y="35"/>
                  <a:pt x="12" y="73"/>
                  <a:pt x="13" y="75"/>
                </a:cubicBezTo>
                <a:cubicBezTo>
                  <a:pt x="13" y="78"/>
                  <a:pt x="13" y="78"/>
                  <a:pt x="13" y="78"/>
                </a:cubicBezTo>
                <a:cubicBezTo>
                  <a:pt x="30" y="81"/>
                  <a:pt x="30" y="81"/>
                  <a:pt x="30" y="81"/>
                </a:cubicBezTo>
                <a:cubicBezTo>
                  <a:pt x="28" y="86"/>
                  <a:pt x="28" y="86"/>
                  <a:pt x="28" y="86"/>
                </a:cubicBezTo>
                <a:cubicBezTo>
                  <a:pt x="26" y="90"/>
                  <a:pt x="27" y="93"/>
                  <a:pt x="28" y="96"/>
                </a:cubicBezTo>
                <a:cubicBezTo>
                  <a:pt x="29" y="99"/>
                  <a:pt x="32" y="102"/>
                  <a:pt x="35" y="103"/>
                </a:cubicBezTo>
                <a:cubicBezTo>
                  <a:pt x="37" y="104"/>
                  <a:pt x="38" y="104"/>
                  <a:pt x="40" y="104"/>
                </a:cubicBezTo>
                <a:cubicBezTo>
                  <a:pt x="40" y="104"/>
                  <a:pt x="41" y="104"/>
                  <a:pt x="42" y="104"/>
                </a:cubicBezTo>
                <a:cubicBezTo>
                  <a:pt x="43" y="108"/>
                  <a:pt x="46" y="111"/>
                  <a:pt x="50" y="113"/>
                </a:cubicBezTo>
                <a:cubicBezTo>
                  <a:pt x="53" y="114"/>
                  <a:pt x="53" y="114"/>
                  <a:pt x="53" y="114"/>
                </a:cubicBezTo>
                <a:cubicBezTo>
                  <a:pt x="54" y="115"/>
                  <a:pt x="56" y="115"/>
                  <a:pt x="58" y="115"/>
                </a:cubicBezTo>
                <a:cubicBezTo>
                  <a:pt x="60" y="115"/>
                  <a:pt x="61" y="114"/>
                  <a:pt x="63" y="114"/>
                </a:cubicBezTo>
                <a:cubicBezTo>
                  <a:pt x="64" y="117"/>
                  <a:pt x="67" y="120"/>
                  <a:pt x="71" y="121"/>
                </a:cubicBezTo>
                <a:cubicBezTo>
                  <a:pt x="72" y="121"/>
                  <a:pt x="72" y="121"/>
                  <a:pt x="72" y="121"/>
                </a:cubicBezTo>
                <a:cubicBezTo>
                  <a:pt x="74" y="122"/>
                  <a:pt x="75" y="122"/>
                  <a:pt x="77" y="122"/>
                </a:cubicBezTo>
                <a:cubicBezTo>
                  <a:pt x="80" y="122"/>
                  <a:pt x="82" y="122"/>
                  <a:pt x="84" y="121"/>
                </a:cubicBezTo>
                <a:cubicBezTo>
                  <a:pt x="86" y="123"/>
                  <a:pt x="88" y="124"/>
                  <a:pt x="90" y="125"/>
                </a:cubicBezTo>
                <a:cubicBezTo>
                  <a:pt x="91" y="126"/>
                  <a:pt x="93" y="126"/>
                  <a:pt x="94" y="126"/>
                </a:cubicBezTo>
                <a:cubicBezTo>
                  <a:pt x="98" y="126"/>
                  <a:pt x="101" y="125"/>
                  <a:pt x="103" y="122"/>
                </a:cubicBezTo>
                <a:cubicBezTo>
                  <a:pt x="106" y="124"/>
                  <a:pt x="108" y="125"/>
                  <a:pt x="110" y="125"/>
                </a:cubicBezTo>
                <a:cubicBezTo>
                  <a:pt x="114" y="125"/>
                  <a:pt x="118" y="123"/>
                  <a:pt x="119" y="121"/>
                </a:cubicBezTo>
                <a:cubicBezTo>
                  <a:pt x="121" y="119"/>
                  <a:pt x="122" y="117"/>
                  <a:pt x="123" y="115"/>
                </a:cubicBezTo>
                <a:cubicBezTo>
                  <a:pt x="127" y="116"/>
                  <a:pt x="131" y="116"/>
                  <a:pt x="135" y="113"/>
                </a:cubicBezTo>
                <a:cubicBezTo>
                  <a:pt x="137" y="110"/>
                  <a:pt x="138" y="108"/>
                  <a:pt x="139" y="105"/>
                </a:cubicBezTo>
                <a:cubicBezTo>
                  <a:pt x="143" y="106"/>
                  <a:pt x="148" y="104"/>
                  <a:pt x="152" y="100"/>
                </a:cubicBezTo>
                <a:cubicBezTo>
                  <a:pt x="154" y="97"/>
                  <a:pt x="155" y="94"/>
                  <a:pt x="155" y="90"/>
                </a:cubicBezTo>
                <a:cubicBezTo>
                  <a:pt x="157" y="90"/>
                  <a:pt x="160" y="90"/>
                  <a:pt x="163" y="86"/>
                </a:cubicBezTo>
                <a:cubicBezTo>
                  <a:pt x="164" y="85"/>
                  <a:pt x="165" y="83"/>
                  <a:pt x="166" y="81"/>
                </a:cubicBezTo>
                <a:cubicBezTo>
                  <a:pt x="167" y="82"/>
                  <a:pt x="167" y="82"/>
                  <a:pt x="167" y="82"/>
                </a:cubicBezTo>
                <a:cubicBezTo>
                  <a:pt x="170" y="84"/>
                  <a:pt x="170" y="84"/>
                  <a:pt x="170" y="84"/>
                </a:cubicBezTo>
                <a:cubicBezTo>
                  <a:pt x="186" y="81"/>
                  <a:pt x="186" y="81"/>
                  <a:pt x="186" y="81"/>
                </a:cubicBezTo>
                <a:cubicBezTo>
                  <a:pt x="186" y="77"/>
                  <a:pt x="186" y="77"/>
                  <a:pt x="186" y="77"/>
                </a:cubicBezTo>
                <a:cubicBezTo>
                  <a:pt x="187" y="41"/>
                  <a:pt x="171" y="24"/>
                  <a:pt x="170" y="23"/>
                </a:cubicBezTo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 dirty="0">
              <a:gradFill>
                <a:gsLst>
                  <a:gs pos="2917">
                    <a:schemeClr val="bg2">
                      <a:lumMod val="75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5400000" scaled="0"/>
              </a:gradFill>
            </a:endParaRPr>
          </a:p>
        </p:txBody>
      </p:sp>
      <p:sp>
        <p:nvSpPr>
          <p:cNvPr id="10" name="Freeform 9"/>
          <p:cNvSpPr/>
          <p:nvPr/>
        </p:nvSpPr>
        <p:spPr bwMode="auto">
          <a:xfrm>
            <a:off x="2452492" y="2170450"/>
            <a:ext cx="7323981" cy="2661043"/>
          </a:xfrm>
          <a:custGeom>
            <a:avLst/>
            <a:gdLst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5068110 w 7470842"/>
              <a:gd name="connsiteY5" fmla="*/ 19455 h 2714017"/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4839510 w 7470842"/>
              <a:gd name="connsiteY5" fmla="*/ 27075 h 271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70842" h="2714017">
                <a:moveTo>
                  <a:pt x="2587557" y="0"/>
                </a:moveTo>
                <a:lnTo>
                  <a:pt x="0" y="0"/>
                </a:lnTo>
                <a:lnTo>
                  <a:pt x="0" y="2714017"/>
                </a:lnTo>
                <a:lnTo>
                  <a:pt x="7470842" y="2714017"/>
                </a:lnTo>
                <a:lnTo>
                  <a:pt x="7470842" y="19455"/>
                </a:lnTo>
                <a:lnTo>
                  <a:pt x="4839510" y="27075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452491" y="2176906"/>
            <a:ext cx="7323982" cy="2653027"/>
          </a:xfrm>
          <a:noFill/>
        </p:spPr>
        <p:txBody>
          <a:bodyPr vert="horz" wrap="square" lIns="146304" tIns="91440" rIns="146304" bIns="0" rtlCol="0" anchor="ctr" anchorCtr="0">
            <a:noAutofit/>
          </a:bodyPr>
          <a:lstStyle>
            <a:lvl1pPr algn="ctr">
              <a:defRPr lang="en-US" sz="5294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96237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Title_Accent Color_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385" b="1035"/>
          <a:stretch/>
        </p:blipFill>
        <p:spPr>
          <a:xfrm>
            <a:off x="-1" y="0"/>
            <a:ext cx="12192001" cy="6870318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258763" y="6149978"/>
            <a:ext cx="2627220" cy="561290"/>
          </a:xfrm>
          <a:prstGeom prst="rect">
            <a:avLst/>
          </a:prstGeom>
          <a:noFill/>
        </p:spPr>
        <p:txBody>
          <a:bodyPr wrap="none" lIns="179285" tIns="143428" rIns="89642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Worldwide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</a:rPr>
              <a:t> 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Readiness</a:t>
            </a:r>
          </a:p>
        </p:txBody>
      </p:sp>
      <p:sp>
        <p:nvSpPr>
          <p:cNvPr id="26" name="Freeform 25"/>
          <p:cNvSpPr/>
          <p:nvPr/>
        </p:nvSpPr>
        <p:spPr bwMode="auto">
          <a:xfrm>
            <a:off x="2452492" y="2170450"/>
            <a:ext cx="7323981" cy="2661043"/>
          </a:xfrm>
          <a:custGeom>
            <a:avLst/>
            <a:gdLst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5068110 w 7470842"/>
              <a:gd name="connsiteY5" fmla="*/ 19455 h 2714017"/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4839510 w 7470842"/>
              <a:gd name="connsiteY5" fmla="*/ 27075 h 271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70842" h="2714017">
                <a:moveTo>
                  <a:pt x="2587557" y="0"/>
                </a:moveTo>
                <a:lnTo>
                  <a:pt x="0" y="0"/>
                </a:lnTo>
                <a:lnTo>
                  <a:pt x="0" y="2714017"/>
                </a:lnTo>
                <a:lnTo>
                  <a:pt x="7470842" y="2714017"/>
                </a:lnTo>
                <a:lnTo>
                  <a:pt x="7470842" y="19455"/>
                </a:lnTo>
                <a:lnTo>
                  <a:pt x="4839510" y="27075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sp>
        <p:nvSpPr>
          <p:cNvPr id="27" name="Freeform 211"/>
          <p:cNvSpPr>
            <a:spLocks noEditPoints="1"/>
          </p:cNvSpPr>
          <p:nvPr userDrawn="1"/>
        </p:nvSpPr>
        <p:spPr bwMode="auto">
          <a:xfrm>
            <a:off x="5767320" y="1730073"/>
            <a:ext cx="693074" cy="880754"/>
          </a:xfrm>
          <a:custGeom>
            <a:avLst/>
            <a:gdLst>
              <a:gd name="T0" fmla="*/ 6 w 282"/>
              <a:gd name="T1" fmla="*/ 360 h 360"/>
              <a:gd name="T2" fmla="*/ 6 w 282"/>
              <a:gd name="T3" fmla="*/ 0 h 360"/>
              <a:gd name="T4" fmla="*/ 282 w 282"/>
              <a:gd name="T5" fmla="*/ 282 h 360"/>
              <a:gd name="T6" fmla="*/ 282 w 282"/>
              <a:gd name="T7" fmla="*/ 283 h 360"/>
              <a:gd name="T8" fmla="*/ 282 w 282"/>
              <a:gd name="T9" fmla="*/ 283 h 360"/>
              <a:gd name="T10" fmla="*/ 282 w 282"/>
              <a:gd name="T11" fmla="*/ 283 h 360"/>
              <a:gd name="T12" fmla="*/ 282 w 282"/>
              <a:gd name="T13" fmla="*/ 283 h 360"/>
              <a:gd name="T14" fmla="*/ 280 w 282"/>
              <a:gd name="T15" fmla="*/ 286 h 360"/>
              <a:gd name="T16" fmla="*/ 280 w 282"/>
              <a:gd name="T17" fmla="*/ 286 h 360"/>
              <a:gd name="T18" fmla="*/ 280 w 282"/>
              <a:gd name="T19" fmla="*/ 286 h 360"/>
              <a:gd name="T20" fmla="*/ 210 w 282"/>
              <a:gd name="T21" fmla="*/ 358 h 360"/>
              <a:gd name="T22" fmla="*/ 210 w 282"/>
              <a:gd name="T23" fmla="*/ 358 h 360"/>
              <a:gd name="T24" fmla="*/ 210 w 282"/>
              <a:gd name="T25" fmla="*/ 358 h 360"/>
              <a:gd name="T26" fmla="*/ 210 w 282"/>
              <a:gd name="T27" fmla="*/ 358 h 360"/>
              <a:gd name="T28" fmla="*/ 210 w 282"/>
              <a:gd name="T29" fmla="*/ 358 h 360"/>
              <a:gd name="T30" fmla="*/ 207 w 282"/>
              <a:gd name="T31" fmla="*/ 360 h 360"/>
              <a:gd name="T32" fmla="*/ 207 w 282"/>
              <a:gd name="T33" fmla="*/ 360 h 360"/>
              <a:gd name="T34" fmla="*/ 207 w 282"/>
              <a:gd name="T35" fmla="*/ 360 h 360"/>
              <a:gd name="T36" fmla="*/ 207 w 282"/>
              <a:gd name="T37" fmla="*/ 360 h 360"/>
              <a:gd name="T38" fmla="*/ 207 w 282"/>
              <a:gd name="T39" fmla="*/ 360 h 360"/>
              <a:gd name="T40" fmla="*/ 205 w 282"/>
              <a:gd name="T41" fmla="*/ 360 h 360"/>
              <a:gd name="T42" fmla="*/ 200 w 282"/>
              <a:gd name="T43" fmla="*/ 282 h 360"/>
              <a:gd name="T44" fmla="*/ 270 w 282"/>
              <a:gd name="T45" fmla="*/ 12 h 360"/>
              <a:gd name="T46" fmla="*/ 211 w 282"/>
              <a:gd name="T47" fmla="*/ 288 h 360"/>
              <a:gd name="T48" fmla="*/ 211 w 282"/>
              <a:gd name="T49" fmla="*/ 288 h 360"/>
              <a:gd name="T50" fmla="*/ 34 w 282"/>
              <a:gd name="T51" fmla="*/ 250 h 360"/>
              <a:gd name="T52" fmla="*/ 226 w 282"/>
              <a:gd name="T53" fmla="*/ 250 h 360"/>
              <a:gd name="T54" fmla="*/ 40 w 282"/>
              <a:gd name="T55" fmla="*/ 229 h 360"/>
              <a:gd name="T56" fmla="*/ 241 w 282"/>
              <a:gd name="T57" fmla="*/ 218 h 360"/>
              <a:gd name="T58" fmla="*/ 80 w 282"/>
              <a:gd name="T59" fmla="*/ 193 h 360"/>
              <a:gd name="T60" fmla="*/ 30 w 282"/>
              <a:gd name="T61" fmla="*/ 184 h 360"/>
              <a:gd name="T62" fmla="*/ 29 w 282"/>
              <a:gd name="T63" fmla="*/ 75 h 360"/>
              <a:gd name="T64" fmla="*/ 112 w 282"/>
              <a:gd name="T65" fmla="*/ 114 h 360"/>
              <a:gd name="T66" fmla="*/ 121 w 282"/>
              <a:gd name="T67" fmla="*/ 174 h 360"/>
              <a:gd name="T68" fmla="*/ 84 w 282"/>
              <a:gd name="T69" fmla="*/ 191 h 360"/>
              <a:gd name="T70" fmla="*/ 74 w 282"/>
              <a:gd name="T71" fmla="*/ 180 h 360"/>
              <a:gd name="T72" fmla="*/ 54 w 282"/>
              <a:gd name="T73" fmla="*/ 121 h 360"/>
              <a:gd name="T74" fmla="*/ 87 w 282"/>
              <a:gd name="T75" fmla="*/ 167 h 360"/>
              <a:gd name="T76" fmla="*/ 87 w 282"/>
              <a:gd name="T77" fmla="*/ 127 h 360"/>
              <a:gd name="T78" fmla="*/ 54 w 282"/>
              <a:gd name="T79" fmla="*/ 50 h 360"/>
              <a:gd name="T80" fmla="*/ 115 w 282"/>
              <a:gd name="T81" fmla="*/ 82 h 360"/>
              <a:gd name="T82" fmla="*/ 241 w 282"/>
              <a:gd name="T83" fmla="*/ 123 h 360"/>
              <a:gd name="T84" fmla="*/ 158 w 282"/>
              <a:gd name="T85" fmla="*/ 112 h 360"/>
              <a:gd name="T86" fmla="*/ 241 w 282"/>
              <a:gd name="T87" fmla="*/ 123 h 360"/>
              <a:gd name="T88" fmla="*/ 152 w 282"/>
              <a:gd name="T89" fmla="*/ 86 h 360"/>
              <a:gd name="T90" fmla="*/ 235 w 282"/>
              <a:gd name="T91" fmla="*/ 86 h 360"/>
              <a:gd name="T92" fmla="*/ 158 w 282"/>
              <a:gd name="T93" fmla="*/ 59 h 360"/>
              <a:gd name="T94" fmla="*/ 241 w 282"/>
              <a:gd name="T95" fmla="*/ 47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82" h="360">
                <a:moveTo>
                  <a:pt x="205" y="360"/>
                </a:moveTo>
                <a:cubicBezTo>
                  <a:pt x="205" y="360"/>
                  <a:pt x="205" y="360"/>
                  <a:pt x="205" y="360"/>
                </a:cubicBezTo>
                <a:cubicBezTo>
                  <a:pt x="6" y="360"/>
                  <a:pt x="6" y="360"/>
                  <a:pt x="6" y="360"/>
                </a:cubicBezTo>
                <a:cubicBezTo>
                  <a:pt x="3" y="360"/>
                  <a:pt x="0" y="357"/>
                  <a:pt x="0" y="354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276" y="0"/>
                  <a:pt x="276" y="0"/>
                  <a:pt x="276" y="0"/>
                </a:cubicBezTo>
                <a:cubicBezTo>
                  <a:pt x="279" y="0"/>
                  <a:pt x="282" y="3"/>
                  <a:pt x="282" y="6"/>
                </a:cubicBezTo>
                <a:cubicBezTo>
                  <a:pt x="282" y="282"/>
                  <a:pt x="282" y="282"/>
                  <a:pt x="282" y="282"/>
                </a:cubicBezTo>
                <a:cubicBezTo>
                  <a:pt x="282" y="282"/>
                  <a:pt x="282" y="282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2" y="283"/>
                  <a:pt x="282" y="283"/>
                  <a:pt x="282" y="283"/>
                </a:cubicBezTo>
                <a:cubicBezTo>
                  <a:pt x="281" y="284"/>
                  <a:pt x="281" y="285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80" y="286"/>
                  <a:pt x="280" y="286"/>
                  <a:pt x="280" y="286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10" y="358"/>
                  <a:pt x="210" y="358"/>
                  <a:pt x="210" y="358"/>
                </a:cubicBezTo>
                <a:cubicBezTo>
                  <a:pt x="209" y="359"/>
                  <a:pt x="208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7" y="360"/>
                  <a:pt x="207" y="360"/>
                  <a:pt x="207" y="360"/>
                </a:cubicBezTo>
                <a:cubicBezTo>
                  <a:pt x="206" y="360"/>
                  <a:pt x="206" y="360"/>
                  <a:pt x="205" y="360"/>
                </a:cubicBezTo>
                <a:close/>
                <a:moveTo>
                  <a:pt x="12" y="348"/>
                </a:moveTo>
                <a:cubicBezTo>
                  <a:pt x="200" y="348"/>
                  <a:pt x="200" y="348"/>
                  <a:pt x="200" y="348"/>
                </a:cubicBezTo>
                <a:cubicBezTo>
                  <a:pt x="200" y="282"/>
                  <a:pt x="200" y="282"/>
                  <a:pt x="200" y="282"/>
                </a:cubicBezTo>
                <a:cubicBezTo>
                  <a:pt x="200" y="279"/>
                  <a:pt x="202" y="276"/>
                  <a:pt x="205" y="276"/>
                </a:cubicBezTo>
                <a:cubicBezTo>
                  <a:pt x="270" y="276"/>
                  <a:pt x="270" y="276"/>
                  <a:pt x="270" y="276"/>
                </a:cubicBezTo>
                <a:cubicBezTo>
                  <a:pt x="270" y="12"/>
                  <a:pt x="270" y="12"/>
                  <a:pt x="270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348"/>
                  <a:pt x="12" y="348"/>
                  <a:pt x="12" y="348"/>
                </a:cubicBezTo>
                <a:close/>
                <a:moveTo>
                  <a:pt x="211" y="288"/>
                </a:moveTo>
                <a:cubicBezTo>
                  <a:pt x="211" y="340"/>
                  <a:pt x="211" y="340"/>
                  <a:pt x="211" y="340"/>
                </a:cubicBezTo>
                <a:cubicBezTo>
                  <a:pt x="262" y="288"/>
                  <a:pt x="262" y="288"/>
                  <a:pt x="262" y="288"/>
                </a:cubicBezTo>
                <a:cubicBezTo>
                  <a:pt x="211" y="288"/>
                  <a:pt x="211" y="288"/>
                  <a:pt x="211" y="288"/>
                </a:cubicBezTo>
                <a:close/>
                <a:moveTo>
                  <a:pt x="220" y="256"/>
                </a:moveTo>
                <a:cubicBezTo>
                  <a:pt x="40" y="256"/>
                  <a:pt x="40" y="256"/>
                  <a:pt x="40" y="256"/>
                </a:cubicBezTo>
                <a:cubicBezTo>
                  <a:pt x="37" y="256"/>
                  <a:pt x="34" y="253"/>
                  <a:pt x="34" y="250"/>
                </a:cubicBezTo>
                <a:cubicBezTo>
                  <a:pt x="34" y="247"/>
                  <a:pt x="37" y="244"/>
                  <a:pt x="40" y="244"/>
                </a:cubicBezTo>
                <a:cubicBezTo>
                  <a:pt x="220" y="244"/>
                  <a:pt x="220" y="244"/>
                  <a:pt x="220" y="244"/>
                </a:cubicBezTo>
                <a:cubicBezTo>
                  <a:pt x="224" y="244"/>
                  <a:pt x="226" y="247"/>
                  <a:pt x="226" y="250"/>
                </a:cubicBezTo>
                <a:cubicBezTo>
                  <a:pt x="226" y="253"/>
                  <a:pt x="224" y="256"/>
                  <a:pt x="220" y="256"/>
                </a:cubicBezTo>
                <a:close/>
                <a:moveTo>
                  <a:pt x="241" y="229"/>
                </a:moveTo>
                <a:cubicBezTo>
                  <a:pt x="40" y="229"/>
                  <a:pt x="40" y="229"/>
                  <a:pt x="40" y="229"/>
                </a:cubicBezTo>
                <a:cubicBezTo>
                  <a:pt x="37" y="229"/>
                  <a:pt x="34" y="227"/>
                  <a:pt x="34" y="224"/>
                </a:cubicBezTo>
                <a:cubicBezTo>
                  <a:pt x="34" y="220"/>
                  <a:pt x="37" y="218"/>
                  <a:pt x="40" y="218"/>
                </a:cubicBezTo>
                <a:cubicBezTo>
                  <a:pt x="241" y="218"/>
                  <a:pt x="241" y="218"/>
                  <a:pt x="241" y="218"/>
                </a:cubicBezTo>
                <a:cubicBezTo>
                  <a:pt x="244" y="218"/>
                  <a:pt x="247" y="220"/>
                  <a:pt x="247" y="224"/>
                </a:cubicBezTo>
                <a:cubicBezTo>
                  <a:pt x="247" y="227"/>
                  <a:pt x="244" y="229"/>
                  <a:pt x="241" y="229"/>
                </a:cubicBezTo>
                <a:close/>
                <a:moveTo>
                  <a:pt x="80" y="193"/>
                </a:moveTo>
                <a:cubicBezTo>
                  <a:pt x="80" y="193"/>
                  <a:pt x="79" y="193"/>
                  <a:pt x="79" y="193"/>
                </a:cubicBezTo>
                <a:cubicBezTo>
                  <a:pt x="34" y="186"/>
                  <a:pt x="34" y="186"/>
                  <a:pt x="34" y="186"/>
                </a:cubicBezTo>
                <a:cubicBezTo>
                  <a:pt x="33" y="186"/>
                  <a:pt x="31" y="185"/>
                  <a:pt x="30" y="184"/>
                </a:cubicBezTo>
                <a:cubicBezTo>
                  <a:pt x="29" y="183"/>
                  <a:pt x="29" y="181"/>
                  <a:pt x="29" y="179"/>
                </a:cubicBezTo>
                <a:cubicBezTo>
                  <a:pt x="43" y="114"/>
                  <a:pt x="43" y="114"/>
                  <a:pt x="43" y="114"/>
                </a:cubicBezTo>
                <a:cubicBezTo>
                  <a:pt x="34" y="104"/>
                  <a:pt x="28" y="90"/>
                  <a:pt x="29" y="75"/>
                </a:cubicBezTo>
                <a:cubicBezTo>
                  <a:pt x="31" y="48"/>
                  <a:pt x="55" y="28"/>
                  <a:pt x="82" y="30"/>
                </a:cubicBezTo>
                <a:cubicBezTo>
                  <a:pt x="109" y="32"/>
                  <a:pt x="129" y="56"/>
                  <a:pt x="127" y="83"/>
                </a:cubicBezTo>
                <a:cubicBezTo>
                  <a:pt x="126" y="95"/>
                  <a:pt x="120" y="106"/>
                  <a:pt x="112" y="114"/>
                </a:cubicBezTo>
                <a:cubicBezTo>
                  <a:pt x="125" y="166"/>
                  <a:pt x="125" y="166"/>
                  <a:pt x="125" y="166"/>
                </a:cubicBezTo>
                <a:cubicBezTo>
                  <a:pt x="126" y="168"/>
                  <a:pt x="126" y="170"/>
                  <a:pt x="125" y="171"/>
                </a:cubicBezTo>
                <a:cubicBezTo>
                  <a:pt x="124" y="172"/>
                  <a:pt x="122" y="173"/>
                  <a:pt x="121" y="174"/>
                </a:cubicBezTo>
                <a:cubicBezTo>
                  <a:pt x="86" y="179"/>
                  <a:pt x="86" y="179"/>
                  <a:pt x="86" y="179"/>
                </a:cubicBezTo>
                <a:cubicBezTo>
                  <a:pt x="86" y="187"/>
                  <a:pt x="86" y="187"/>
                  <a:pt x="86" y="187"/>
                </a:cubicBezTo>
                <a:cubicBezTo>
                  <a:pt x="86" y="189"/>
                  <a:pt x="85" y="190"/>
                  <a:pt x="84" y="191"/>
                </a:cubicBezTo>
                <a:cubicBezTo>
                  <a:pt x="83" y="192"/>
                  <a:pt x="81" y="193"/>
                  <a:pt x="80" y="193"/>
                </a:cubicBezTo>
                <a:close/>
                <a:moveTo>
                  <a:pt x="42" y="176"/>
                </a:moveTo>
                <a:cubicBezTo>
                  <a:pt x="74" y="180"/>
                  <a:pt x="74" y="180"/>
                  <a:pt x="74" y="180"/>
                </a:cubicBezTo>
                <a:cubicBezTo>
                  <a:pt x="75" y="128"/>
                  <a:pt x="75" y="128"/>
                  <a:pt x="75" y="128"/>
                </a:cubicBezTo>
                <a:cubicBezTo>
                  <a:pt x="75" y="128"/>
                  <a:pt x="74" y="128"/>
                  <a:pt x="74" y="128"/>
                </a:cubicBezTo>
                <a:cubicBezTo>
                  <a:pt x="67" y="127"/>
                  <a:pt x="60" y="125"/>
                  <a:pt x="54" y="121"/>
                </a:cubicBezTo>
                <a:cubicBezTo>
                  <a:pt x="42" y="176"/>
                  <a:pt x="42" y="176"/>
                  <a:pt x="42" y="176"/>
                </a:cubicBezTo>
                <a:close/>
                <a:moveTo>
                  <a:pt x="86" y="165"/>
                </a:moveTo>
                <a:cubicBezTo>
                  <a:pt x="87" y="167"/>
                  <a:pt x="87" y="167"/>
                  <a:pt x="87" y="167"/>
                </a:cubicBezTo>
                <a:cubicBezTo>
                  <a:pt x="112" y="163"/>
                  <a:pt x="112" y="163"/>
                  <a:pt x="112" y="163"/>
                </a:cubicBezTo>
                <a:cubicBezTo>
                  <a:pt x="102" y="122"/>
                  <a:pt x="102" y="122"/>
                  <a:pt x="102" y="122"/>
                </a:cubicBezTo>
                <a:cubicBezTo>
                  <a:pt x="97" y="124"/>
                  <a:pt x="92" y="126"/>
                  <a:pt x="87" y="127"/>
                </a:cubicBezTo>
                <a:cubicBezTo>
                  <a:pt x="86" y="165"/>
                  <a:pt x="86" y="165"/>
                  <a:pt x="86" y="165"/>
                </a:cubicBezTo>
                <a:close/>
                <a:moveTo>
                  <a:pt x="78" y="42"/>
                </a:moveTo>
                <a:cubicBezTo>
                  <a:pt x="69" y="42"/>
                  <a:pt x="61" y="45"/>
                  <a:pt x="54" y="50"/>
                </a:cubicBezTo>
                <a:cubicBezTo>
                  <a:pt x="46" y="57"/>
                  <a:pt x="42" y="66"/>
                  <a:pt x="41" y="76"/>
                </a:cubicBezTo>
                <a:cubicBezTo>
                  <a:pt x="39" y="96"/>
                  <a:pt x="54" y="114"/>
                  <a:pt x="75" y="116"/>
                </a:cubicBezTo>
                <a:cubicBezTo>
                  <a:pt x="95" y="118"/>
                  <a:pt x="113" y="102"/>
                  <a:pt x="115" y="82"/>
                </a:cubicBezTo>
                <a:cubicBezTo>
                  <a:pt x="117" y="61"/>
                  <a:pt x="101" y="43"/>
                  <a:pt x="81" y="42"/>
                </a:cubicBezTo>
                <a:cubicBezTo>
                  <a:pt x="80" y="42"/>
                  <a:pt x="79" y="42"/>
                  <a:pt x="78" y="42"/>
                </a:cubicBezTo>
                <a:close/>
                <a:moveTo>
                  <a:pt x="241" y="123"/>
                </a:moveTo>
                <a:cubicBezTo>
                  <a:pt x="158" y="123"/>
                  <a:pt x="158" y="123"/>
                  <a:pt x="158" y="123"/>
                </a:cubicBezTo>
                <a:cubicBezTo>
                  <a:pt x="155" y="123"/>
                  <a:pt x="152" y="121"/>
                  <a:pt x="152" y="117"/>
                </a:cubicBezTo>
                <a:cubicBezTo>
                  <a:pt x="152" y="114"/>
                  <a:pt x="155" y="112"/>
                  <a:pt x="158" y="112"/>
                </a:cubicBezTo>
                <a:cubicBezTo>
                  <a:pt x="241" y="112"/>
                  <a:pt x="241" y="112"/>
                  <a:pt x="241" y="112"/>
                </a:cubicBezTo>
                <a:cubicBezTo>
                  <a:pt x="244" y="112"/>
                  <a:pt x="247" y="114"/>
                  <a:pt x="247" y="117"/>
                </a:cubicBezTo>
                <a:cubicBezTo>
                  <a:pt x="247" y="121"/>
                  <a:pt x="244" y="123"/>
                  <a:pt x="241" y="123"/>
                </a:cubicBezTo>
                <a:close/>
                <a:moveTo>
                  <a:pt x="229" y="92"/>
                </a:moveTo>
                <a:cubicBezTo>
                  <a:pt x="158" y="92"/>
                  <a:pt x="158" y="92"/>
                  <a:pt x="158" y="92"/>
                </a:cubicBezTo>
                <a:cubicBezTo>
                  <a:pt x="155" y="92"/>
                  <a:pt x="152" y="89"/>
                  <a:pt x="152" y="86"/>
                </a:cubicBezTo>
                <a:cubicBezTo>
                  <a:pt x="152" y="83"/>
                  <a:pt x="155" y="80"/>
                  <a:pt x="158" y="80"/>
                </a:cubicBezTo>
                <a:cubicBezTo>
                  <a:pt x="229" y="80"/>
                  <a:pt x="229" y="80"/>
                  <a:pt x="229" y="80"/>
                </a:cubicBezTo>
                <a:cubicBezTo>
                  <a:pt x="232" y="80"/>
                  <a:pt x="235" y="83"/>
                  <a:pt x="235" y="86"/>
                </a:cubicBezTo>
                <a:cubicBezTo>
                  <a:pt x="235" y="89"/>
                  <a:pt x="232" y="92"/>
                  <a:pt x="229" y="92"/>
                </a:cubicBezTo>
                <a:close/>
                <a:moveTo>
                  <a:pt x="241" y="59"/>
                </a:moveTo>
                <a:cubicBezTo>
                  <a:pt x="158" y="59"/>
                  <a:pt x="158" y="59"/>
                  <a:pt x="158" y="59"/>
                </a:cubicBezTo>
                <a:cubicBezTo>
                  <a:pt x="155" y="59"/>
                  <a:pt x="152" y="56"/>
                  <a:pt x="152" y="53"/>
                </a:cubicBezTo>
                <a:cubicBezTo>
                  <a:pt x="152" y="50"/>
                  <a:pt x="155" y="47"/>
                  <a:pt x="158" y="47"/>
                </a:cubicBezTo>
                <a:cubicBezTo>
                  <a:pt x="241" y="47"/>
                  <a:pt x="241" y="47"/>
                  <a:pt x="241" y="47"/>
                </a:cubicBezTo>
                <a:cubicBezTo>
                  <a:pt x="244" y="47"/>
                  <a:pt x="247" y="50"/>
                  <a:pt x="247" y="53"/>
                </a:cubicBezTo>
                <a:cubicBezTo>
                  <a:pt x="247" y="56"/>
                  <a:pt x="244" y="59"/>
                  <a:pt x="241" y="5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 dirty="0">
              <a:gradFill>
                <a:gsLst>
                  <a:gs pos="2917">
                    <a:schemeClr val="bg2">
                      <a:lumMod val="75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5400000" scaled="0"/>
              </a:gradFill>
            </a:endParaRP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2452491" y="2176906"/>
            <a:ext cx="7323982" cy="2653027"/>
          </a:xfrm>
          <a:noFill/>
        </p:spPr>
        <p:txBody>
          <a:bodyPr vert="horz" wrap="square" lIns="146304" tIns="91440" rIns="146304" bIns="0" rtlCol="0" anchor="ctr" anchorCtr="0">
            <a:noAutofit/>
          </a:bodyPr>
          <a:lstStyle>
            <a:lvl1pPr algn="ctr">
              <a:defRPr lang="en-US" sz="5294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51725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696508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Title_Accent Color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71" b="6238"/>
          <a:stretch/>
        </p:blipFill>
        <p:spPr>
          <a:xfrm>
            <a:off x="-1" y="0"/>
            <a:ext cx="12192001" cy="6860573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4753" y="1746489"/>
            <a:ext cx="859460" cy="895866"/>
            <a:chOff x="11466525" y="626439"/>
            <a:chExt cx="301995" cy="314743"/>
          </a:xfrm>
          <a:solidFill>
            <a:schemeClr val="tx2"/>
          </a:solidFill>
        </p:grpSpPr>
        <p:sp>
          <p:nvSpPr>
            <p:cNvPr id="29" name="Freeform 5"/>
            <p:cNvSpPr>
              <a:spLocks noEditPoints="1"/>
            </p:cNvSpPr>
            <p:nvPr userDrawn="1"/>
          </p:nvSpPr>
          <p:spPr bwMode="auto">
            <a:xfrm>
              <a:off x="11466525" y="714796"/>
              <a:ext cx="301995" cy="226386"/>
            </a:xfrm>
            <a:custGeom>
              <a:avLst/>
              <a:gdLst>
                <a:gd name="T0" fmla="*/ 668 w 687"/>
                <a:gd name="T1" fmla="*/ 19 h 515"/>
                <a:gd name="T2" fmla="*/ 668 w 687"/>
                <a:gd name="T3" fmla="*/ 496 h 515"/>
                <a:gd name="T4" fmla="*/ 19 w 687"/>
                <a:gd name="T5" fmla="*/ 496 h 515"/>
                <a:gd name="T6" fmla="*/ 19 w 687"/>
                <a:gd name="T7" fmla="*/ 19 h 515"/>
                <a:gd name="T8" fmla="*/ 668 w 687"/>
                <a:gd name="T9" fmla="*/ 19 h 515"/>
                <a:gd name="T10" fmla="*/ 687 w 687"/>
                <a:gd name="T11" fmla="*/ 0 h 515"/>
                <a:gd name="T12" fmla="*/ 0 w 687"/>
                <a:gd name="T13" fmla="*/ 0 h 515"/>
                <a:gd name="T14" fmla="*/ 0 w 687"/>
                <a:gd name="T15" fmla="*/ 515 h 515"/>
                <a:gd name="T16" fmla="*/ 687 w 687"/>
                <a:gd name="T17" fmla="*/ 515 h 515"/>
                <a:gd name="T18" fmla="*/ 687 w 687"/>
                <a:gd name="T19" fmla="*/ 0 h 515"/>
                <a:gd name="T20" fmla="*/ 687 w 687"/>
                <a:gd name="T21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7" h="515">
                  <a:moveTo>
                    <a:pt x="668" y="19"/>
                  </a:moveTo>
                  <a:lnTo>
                    <a:pt x="668" y="496"/>
                  </a:lnTo>
                  <a:lnTo>
                    <a:pt x="19" y="496"/>
                  </a:lnTo>
                  <a:lnTo>
                    <a:pt x="19" y="19"/>
                  </a:lnTo>
                  <a:lnTo>
                    <a:pt x="668" y="19"/>
                  </a:lnTo>
                  <a:close/>
                  <a:moveTo>
                    <a:pt x="687" y="0"/>
                  </a:moveTo>
                  <a:lnTo>
                    <a:pt x="0" y="0"/>
                  </a:lnTo>
                  <a:lnTo>
                    <a:pt x="0" y="515"/>
                  </a:lnTo>
                  <a:lnTo>
                    <a:pt x="687" y="515"/>
                  </a:lnTo>
                  <a:lnTo>
                    <a:pt x="687" y="0"/>
                  </a:lnTo>
                  <a:lnTo>
                    <a:pt x="6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11466525" y="714796"/>
              <a:ext cx="301995" cy="226386"/>
            </a:xfrm>
            <a:custGeom>
              <a:avLst/>
              <a:gdLst>
                <a:gd name="T0" fmla="*/ 668 w 687"/>
                <a:gd name="T1" fmla="*/ 19 h 515"/>
                <a:gd name="T2" fmla="*/ 668 w 687"/>
                <a:gd name="T3" fmla="*/ 496 h 515"/>
                <a:gd name="T4" fmla="*/ 19 w 687"/>
                <a:gd name="T5" fmla="*/ 496 h 515"/>
                <a:gd name="T6" fmla="*/ 19 w 687"/>
                <a:gd name="T7" fmla="*/ 19 h 515"/>
                <a:gd name="T8" fmla="*/ 668 w 687"/>
                <a:gd name="T9" fmla="*/ 19 h 515"/>
                <a:gd name="T10" fmla="*/ 687 w 687"/>
                <a:gd name="T11" fmla="*/ 0 h 515"/>
                <a:gd name="T12" fmla="*/ 0 w 687"/>
                <a:gd name="T13" fmla="*/ 0 h 515"/>
                <a:gd name="T14" fmla="*/ 0 w 687"/>
                <a:gd name="T15" fmla="*/ 515 h 515"/>
                <a:gd name="T16" fmla="*/ 687 w 687"/>
                <a:gd name="T17" fmla="*/ 515 h 515"/>
                <a:gd name="T18" fmla="*/ 687 w 687"/>
                <a:gd name="T19" fmla="*/ 0 h 515"/>
                <a:gd name="T20" fmla="*/ 687 w 687"/>
                <a:gd name="T21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7" h="515">
                  <a:moveTo>
                    <a:pt x="668" y="19"/>
                  </a:moveTo>
                  <a:lnTo>
                    <a:pt x="668" y="496"/>
                  </a:lnTo>
                  <a:lnTo>
                    <a:pt x="19" y="496"/>
                  </a:lnTo>
                  <a:lnTo>
                    <a:pt x="19" y="19"/>
                  </a:lnTo>
                  <a:lnTo>
                    <a:pt x="668" y="19"/>
                  </a:lnTo>
                  <a:moveTo>
                    <a:pt x="687" y="0"/>
                  </a:moveTo>
                  <a:lnTo>
                    <a:pt x="0" y="0"/>
                  </a:lnTo>
                  <a:lnTo>
                    <a:pt x="0" y="515"/>
                  </a:lnTo>
                  <a:lnTo>
                    <a:pt x="687" y="515"/>
                  </a:lnTo>
                  <a:lnTo>
                    <a:pt x="687" y="0"/>
                  </a:lnTo>
                  <a:lnTo>
                    <a:pt x="68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1" name="Freeform 7"/>
            <p:cNvSpPr>
              <a:spLocks noEditPoints="1"/>
            </p:cNvSpPr>
            <p:nvPr userDrawn="1"/>
          </p:nvSpPr>
          <p:spPr bwMode="auto">
            <a:xfrm>
              <a:off x="11466525" y="643143"/>
              <a:ext cx="301995" cy="62861"/>
            </a:xfrm>
            <a:custGeom>
              <a:avLst/>
              <a:gdLst>
                <a:gd name="T0" fmla="*/ 668 w 687"/>
                <a:gd name="T1" fmla="*/ 19 h 143"/>
                <a:gd name="T2" fmla="*/ 668 w 687"/>
                <a:gd name="T3" fmla="*/ 124 h 143"/>
                <a:gd name="T4" fmla="*/ 19 w 687"/>
                <a:gd name="T5" fmla="*/ 124 h 143"/>
                <a:gd name="T6" fmla="*/ 19 w 687"/>
                <a:gd name="T7" fmla="*/ 19 h 143"/>
                <a:gd name="T8" fmla="*/ 668 w 687"/>
                <a:gd name="T9" fmla="*/ 19 h 143"/>
                <a:gd name="T10" fmla="*/ 687 w 687"/>
                <a:gd name="T11" fmla="*/ 0 h 143"/>
                <a:gd name="T12" fmla="*/ 0 w 687"/>
                <a:gd name="T13" fmla="*/ 0 h 143"/>
                <a:gd name="T14" fmla="*/ 0 w 687"/>
                <a:gd name="T15" fmla="*/ 143 h 143"/>
                <a:gd name="T16" fmla="*/ 687 w 687"/>
                <a:gd name="T17" fmla="*/ 143 h 143"/>
                <a:gd name="T18" fmla="*/ 687 w 687"/>
                <a:gd name="T19" fmla="*/ 0 h 143"/>
                <a:gd name="T20" fmla="*/ 687 w 687"/>
                <a:gd name="T2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7" h="143">
                  <a:moveTo>
                    <a:pt x="668" y="19"/>
                  </a:moveTo>
                  <a:lnTo>
                    <a:pt x="668" y="124"/>
                  </a:lnTo>
                  <a:lnTo>
                    <a:pt x="19" y="124"/>
                  </a:lnTo>
                  <a:lnTo>
                    <a:pt x="19" y="19"/>
                  </a:lnTo>
                  <a:lnTo>
                    <a:pt x="668" y="19"/>
                  </a:lnTo>
                  <a:close/>
                  <a:moveTo>
                    <a:pt x="687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687" y="143"/>
                  </a:lnTo>
                  <a:lnTo>
                    <a:pt x="687" y="0"/>
                  </a:lnTo>
                  <a:lnTo>
                    <a:pt x="6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2" name="Freeform 8"/>
            <p:cNvSpPr>
              <a:spLocks noEditPoints="1"/>
            </p:cNvSpPr>
            <p:nvPr userDrawn="1"/>
          </p:nvSpPr>
          <p:spPr bwMode="auto">
            <a:xfrm>
              <a:off x="11466525" y="643143"/>
              <a:ext cx="301995" cy="62861"/>
            </a:xfrm>
            <a:custGeom>
              <a:avLst/>
              <a:gdLst>
                <a:gd name="T0" fmla="*/ 668 w 687"/>
                <a:gd name="T1" fmla="*/ 19 h 143"/>
                <a:gd name="T2" fmla="*/ 668 w 687"/>
                <a:gd name="T3" fmla="*/ 124 h 143"/>
                <a:gd name="T4" fmla="*/ 19 w 687"/>
                <a:gd name="T5" fmla="*/ 124 h 143"/>
                <a:gd name="T6" fmla="*/ 19 w 687"/>
                <a:gd name="T7" fmla="*/ 19 h 143"/>
                <a:gd name="T8" fmla="*/ 668 w 687"/>
                <a:gd name="T9" fmla="*/ 19 h 143"/>
                <a:gd name="T10" fmla="*/ 687 w 687"/>
                <a:gd name="T11" fmla="*/ 0 h 143"/>
                <a:gd name="T12" fmla="*/ 0 w 687"/>
                <a:gd name="T13" fmla="*/ 0 h 143"/>
                <a:gd name="T14" fmla="*/ 0 w 687"/>
                <a:gd name="T15" fmla="*/ 143 h 143"/>
                <a:gd name="T16" fmla="*/ 687 w 687"/>
                <a:gd name="T17" fmla="*/ 143 h 143"/>
                <a:gd name="T18" fmla="*/ 687 w 687"/>
                <a:gd name="T19" fmla="*/ 0 h 143"/>
                <a:gd name="T20" fmla="*/ 687 w 687"/>
                <a:gd name="T2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7" h="143">
                  <a:moveTo>
                    <a:pt x="668" y="19"/>
                  </a:moveTo>
                  <a:lnTo>
                    <a:pt x="668" y="124"/>
                  </a:lnTo>
                  <a:lnTo>
                    <a:pt x="19" y="124"/>
                  </a:lnTo>
                  <a:lnTo>
                    <a:pt x="19" y="19"/>
                  </a:lnTo>
                  <a:lnTo>
                    <a:pt x="668" y="19"/>
                  </a:lnTo>
                  <a:moveTo>
                    <a:pt x="687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687" y="143"/>
                  </a:lnTo>
                  <a:lnTo>
                    <a:pt x="687" y="0"/>
                  </a:lnTo>
                  <a:lnTo>
                    <a:pt x="68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3" name="Rectangle 9"/>
            <p:cNvSpPr>
              <a:spLocks noChangeArrowheads="1"/>
            </p:cNvSpPr>
            <p:nvPr userDrawn="1"/>
          </p:nvSpPr>
          <p:spPr bwMode="auto">
            <a:xfrm>
              <a:off x="11537738" y="769304"/>
              <a:ext cx="8352" cy="1424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11487186" y="769304"/>
              <a:ext cx="8352" cy="1424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5" name="Rectangle 11"/>
            <p:cNvSpPr>
              <a:spLocks noChangeArrowheads="1"/>
            </p:cNvSpPr>
            <p:nvPr userDrawn="1"/>
          </p:nvSpPr>
          <p:spPr bwMode="auto">
            <a:xfrm>
              <a:off x="11739068" y="769304"/>
              <a:ext cx="8352" cy="1424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6" name="Rectangle 12"/>
            <p:cNvSpPr>
              <a:spLocks noChangeArrowheads="1"/>
            </p:cNvSpPr>
            <p:nvPr userDrawn="1"/>
          </p:nvSpPr>
          <p:spPr bwMode="auto">
            <a:xfrm>
              <a:off x="11587851" y="769304"/>
              <a:ext cx="8352" cy="1424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7" name="Rectangle 13"/>
            <p:cNvSpPr>
              <a:spLocks noChangeArrowheads="1"/>
            </p:cNvSpPr>
            <p:nvPr userDrawn="1"/>
          </p:nvSpPr>
          <p:spPr bwMode="auto">
            <a:xfrm>
              <a:off x="11638403" y="769304"/>
              <a:ext cx="8352" cy="1424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8" name="Rectangle 14"/>
            <p:cNvSpPr>
              <a:spLocks noChangeArrowheads="1"/>
            </p:cNvSpPr>
            <p:nvPr userDrawn="1"/>
          </p:nvSpPr>
          <p:spPr bwMode="auto">
            <a:xfrm>
              <a:off x="11688516" y="769304"/>
              <a:ext cx="8352" cy="1424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39" name="Rectangle 15"/>
            <p:cNvSpPr>
              <a:spLocks noChangeArrowheads="1"/>
            </p:cNvSpPr>
            <p:nvPr userDrawn="1"/>
          </p:nvSpPr>
          <p:spPr bwMode="auto">
            <a:xfrm>
              <a:off x="11495538" y="811065"/>
              <a:ext cx="243530" cy="83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40" name="Rectangle 16"/>
            <p:cNvSpPr>
              <a:spLocks noChangeArrowheads="1"/>
            </p:cNvSpPr>
            <p:nvPr userDrawn="1"/>
          </p:nvSpPr>
          <p:spPr bwMode="auto">
            <a:xfrm>
              <a:off x="11487186" y="760952"/>
              <a:ext cx="260234" cy="83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41" name="Rectangle 17"/>
            <p:cNvSpPr>
              <a:spLocks noChangeArrowheads="1"/>
            </p:cNvSpPr>
            <p:nvPr userDrawn="1"/>
          </p:nvSpPr>
          <p:spPr bwMode="auto">
            <a:xfrm>
              <a:off x="11487186" y="911730"/>
              <a:ext cx="260234" cy="83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42" name="Rectangle 18"/>
            <p:cNvSpPr>
              <a:spLocks noChangeArrowheads="1"/>
            </p:cNvSpPr>
            <p:nvPr userDrawn="1"/>
          </p:nvSpPr>
          <p:spPr bwMode="auto">
            <a:xfrm>
              <a:off x="11495538" y="861617"/>
              <a:ext cx="243530" cy="83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43" name="Rectangle 19"/>
            <p:cNvSpPr>
              <a:spLocks noChangeArrowheads="1"/>
            </p:cNvSpPr>
            <p:nvPr userDrawn="1"/>
          </p:nvSpPr>
          <p:spPr bwMode="auto">
            <a:xfrm>
              <a:off x="11537738" y="626439"/>
              <a:ext cx="8352" cy="422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44" name="Rectangle 20"/>
            <p:cNvSpPr>
              <a:spLocks noChangeArrowheads="1"/>
            </p:cNvSpPr>
            <p:nvPr userDrawn="1"/>
          </p:nvSpPr>
          <p:spPr bwMode="auto">
            <a:xfrm>
              <a:off x="11688516" y="626439"/>
              <a:ext cx="8352" cy="422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</p:grpSp>
      <p:sp>
        <p:nvSpPr>
          <p:cNvPr id="5" name="TextBox 4"/>
          <p:cNvSpPr txBox="1"/>
          <p:nvPr userDrawn="1"/>
        </p:nvSpPr>
        <p:spPr>
          <a:xfrm>
            <a:off x="258763" y="6149978"/>
            <a:ext cx="2627220" cy="561290"/>
          </a:xfrm>
          <a:prstGeom prst="rect">
            <a:avLst/>
          </a:prstGeom>
          <a:noFill/>
        </p:spPr>
        <p:txBody>
          <a:bodyPr wrap="none" lIns="179285" tIns="143428" rIns="89642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Worldwide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</a:rPr>
              <a:t> 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Readiness</a:t>
            </a:r>
          </a:p>
        </p:txBody>
      </p:sp>
      <p:sp>
        <p:nvSpPr>
          <p:cNvPr id="25" name="Freeform 24"/>
          <p:cNvSpPr/>
          <p:nvPr/>
        </p:nvSpPr>
        <p:spPr bwMode="auto">
          <a:xfrm>
            <a:off x="2452492" y="2170450"/>
            <a:ext cx="7323981" cy="2661043"/>
          </a:xfrm>
          <a:custGeom>
            <a:avLst/>
            <a:gdLst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5068110 w 7470842"/>
              <a:gd name="connsiteY5" fmla="*/ 19455 h 2714017"/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4839510 w 7470842"/>
              <a:gd name="connsiteY5" fmla="*/ 27075 h 271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70842" h="2714017">
                <a:moveTo>
                  <a:pt x="2587557" y="0"/>
                </a:moveTo>
                <a:lnTo>
                  <a:pt x="0" y="0"/>
                </a:lnTo>
                <a:lnTo>
                  <a:pt x="0" y="2714017"/>
                </a:lnTo>
                <a:lnTo>
                  <a:pt x="7470842" y="2714017"/>
                </a:lnTo>
                <a:lnTo>
                  <a:pt x="7470842" y="19455"/>
                </a:lnTo>
                <a:lnTo>
                  <a:pt x="4839510" y="27075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>
          <a:xfrm>
            <a:off x="2452491" y="2176906"/>
            <a:ext cx="7323982" cy="2653027"/>
          </a:xfrm>
          <a:noFill/>
        </p:spPr>
        <p:txBody>
          <a:bodyPr vert="horz" wrap="square" lIns="146304" tIns="91440" rIns="146304" bIns="0" rtlCol="0" anchor="ctr" anchorCtr="0">
            <a:noAutofit/>
          </a:bodyPr>
          <a:lstStyle>
            <a:lvl1pPr algn="ctr">
              <a:defRPr lang="en-US" sz="5294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480212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tion Title_Accent Color_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" y="0"/>
            <a:ext cx="12186858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258763" y="6149978"/>
            <a:ext cx="2627220" cy="561290"/>
          </a:xfrm>
          <a:prstGeom prst="rect">
            <a:avLst/>
          </a:prstGeom>
          <a:noFill/>
        </p:spPr>
        <p:txBody>
          <a:bodyPr wrap="none" lIns="179285" tIns="143428" rIns="89642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Worldwide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</a:rPr>
              <a:t> 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Readiness</a:t>
            </a: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5592222" y="1803196"/>
            <a:ext cx="1043270" cy="734508"/>
          </a:xfrm>
          <a:custGeom>
            <a:avLst/>
            <a:gdLst>
              <a:gd name="T0" fmla="*/ 58 w 63"/>
              <a:gd name="T1" fmla="*/ 1 h 44"/>
              <a:gd name="T2" fmla="*/ 22 w 63"/>
              <a:gd name="T3" fmla="*/ 37 h 44"/>
              <a:gd name="T4" fmla="*/ 6 w 63"/>
              <a:gd name="T5" fmla="*/ 21 h 44"/>
              <a:gd name="T6" fmla="*/ 2 w 63"/>
              <a:gd name="T7" fmla="*/ 21 h 44"/>
              <a:gd name="T8" fmla="*/ 2 w 63"/>
              <a:gd name="T9" fmla="*/ 25 h 44"/>
              <a:gd name="T10" fmla="*/ 20 w 63"/>
              <a:gd name="T11" fmla="*/ 43 h 44"/>
              <a:gd name="T12" fmla="*/ 22 w 63"/>
              <a:gd name="T13" fmla="*/ 44 h 44"/>
              <a:gd name="T14" fmla="*/ 24 w 63"/>
              <a:gd name="T15" fmla="*/ 43 h 44"/>
              <a:gd name="T16" fmla="*/ 62 w 63"/>
              <a:gd name="T17" fmla="*/ 5 h 44"/>
              <a:gd name="T18" fmla="*/ 62 w 63"/>
              <a:gd name="T19" fmla="*/ 1 h 44"/>
              <a:gd name="T20" fmla="*/ 58 w 63"/>
              <a:gd name="T21" fmla="*/ 1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3" h="44">
                <a:moveTo>
                  <a:pt x="58" y="1"/>
                </a:moveTo>
                <a:cubicBezTo>
                  <a:pt x="22" y="37"/>
                  <a:pt x="22" y="37"/>
                  <a:pt x="22" y="37"/>
                </a:cubicBezTo>
                <a:cubicBezTo>
                  <a:pt x="6" y="21"/>
                  <a:pt x="6" y="21"/>
                  <a:pt x="6" y="21"/>
                </a:cubicBezTo>
                <a:cubicBezTo>
                  <a:pt x="5" y="20"/>
                  <a:pt x="3" y="20"/>
                  <a:pt x="2" y="21"/>
                </a:cubicBezTo>
                <a:cubicBezTo>
                  <a:pt x="0" y="22"/>
                  <a:pt x="0" y="24"/>
                  <a:pt x="2" y="25"/>
                </a:cubicBezTo>
                <a:cubicBezTo>
                  <a:pt x="20" y="43"/>
                  <a:pt x="20" y="43"/>
                  <a:pt x="20" y="43"/>
                </a:cubicBezTo>
                <a:cubicBezTo>
                  <a:pt x="20" y="44"/>
                  <a:pt x="21" y="44"/>
                  <a:pt x="22" y="44"/>
                </a:cubicBezTo>
                <a:cubicBezTo>
                  <a:pt x="22" y="44"/>
                  <a:pt x="23" y="44"/>
                  <a:pt x="24" y="43"/>
                </a:cubicBezTo>
                <a:cubicBezTo>
                  <a:pt x="62" y="5"/>
                  <a:pt x="62" y="5"/>
                  <a:pt x="62" y="5"/>
                </a:cubicBezTo>
                <a:cubicBezTo>
                  <a:pt x="63" y="4"/>
                  <a:pt x="63" y="2"/>
                  <a:pt x="62" y="1"/>
                </a:cubicBezTo>
                <a:cubicBezTo>
                  <a:pt x="61" y="0"/>
                  <a:pt x="59" y="0"/>
                  <a:pt x="58" y="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 dirty="0">
              <a:gradFill>
                <a:gsLst>
                  <a:gs pos="2917">
                    <a:schemeClr val="bg2">
                      <a:lumMod val="75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5400000" scaled="0"/>
              </a:gradFill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2452492" y="2170450"/>
            <a:ext cx="7323981" cy="2661043"/>
          </a:xfrm>
          <a:custGeom>
            <a:avLst/>
            <a:gdLst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5068110 w 7470842"/>
              <a:gd name="connsiteY5" fmla="*/ 19455 h 2714017"/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4839510 w 7470842"/>
              <a:gd name="connsiteY5" fmla="*/ 27075 h 271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70842" h="2714017">
                <a:moveTo>
                  <a:pt x="2587557" y="0"/>
                </a:moveTo>
                <a:lnTo>
                  <a:pt x="0" y="0"/>
                </a:lnTo>
                <a:lnTo>
                  <a:pt x="0" y="2714017"/>
                </a:lnTo>
                <a:lnTo>
                  <a:pt x="7470842" y="2714017"/>
                </a:lnTo>
                <a:lnTo>
                  <a:pt x="7470842" y="19455"/>
                </a:lnTo>
                <a:lnTo>
                  <a:pt x="4839510" y="27075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452491" y="2176906"/>
            <a:ext cx="7323982" cy="2653027"/>
          </a:xfrm>
          <a:noFill/>
        </p:spPr>
        <p:txBody>
          <a:bodyPr vert="horz" wrap="square" lIns="146304" tIns="91440" rIns="146304" bIns="0" rtlCol="0" anchor="ctr" anchorCtr="0">
            <a:noAutofit/>
          </a:bodyPr>
          <a:lstStyle>
            <a:lvl1pPr algn="ctr">
              <a:defRPr lang="en-US" sz="5294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985107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Title_Accent Color_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258763" y="6149978"/>
            <a:ext cx="2627220" cy="561290"/>
          </a:xfrm>
          <a:prstGeom prst="rect">
            <a:avLst/>
          </a:prstGeom>
          <a:noFill/>
        </p:spPr>
        <p:txBody>
          <a:bodyPr wrap="none" lIns="179285" tIns="143428" rIns="89642" bIns="143428" rtlCol="0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Worldwide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</a:rPr>
              <a:t> </a:t>
            </a:r>
            <a:r>
              <a: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Readiness</a:t>
            </a:r>
          </a:p>
        </p:txBody>
      </p:sp>
      <p:sp>
        <p:nvSpPr>
          <p:cNvPr id="14" name="Freeform 13"/>
          <p:cNvSpPr/>
          <p:nvPr/>
        </p:nvSpPr>
        <p:spPr bwMode="auto">
          <a:xfrm>
            <a:off x="2452492" y="2170450"/>
            <a:ext cx="7323981" cy="2661043"/>
          </a:xfrm>
          <a:custGeom>
            <a:avLst/>
            <a:gdLst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5068110 w 7470842"/>
              <a:gd name="connsiteY5" fmla="*/ 19455 h 2714017"/>
              <a:gd name="connsiteX0" fmla="*/ 2587557 w 7470842"/>
              <a:gd name="connsiteY0" fmla="*/ 0 h 2714017"/>
              <a:gd name="connsiteX1" fmla="*/ 0 w 7470842"/>
              <a:gd name="connsiteY1" fmla="*/ 0 h 2714017"/>
              <a:gd name="connsiteX2" fmla="*/ 0 w 7470842"/>
              <a:gd name="connsiteY2" fmla="*/ 2714017 h 2714017"/>
              <a:gd name="connsiteX3" fmla="*/ 7470842 w 7470842"/>
              <a:gd name="connsiteY3" fmla="*/ 2714017 h 2714017"/>
              <a:gd name="connsiteX4" fmla="*/ 7470842 w 7470842"/>
              <a:gd name="connsiteY4" fmla="*/ 19455 h 2714017"/>
              <a:gd name="connsiteX5" fmla="*/ 4839510 w 7470842"/>
              <a:gd name="connsiteY5" fmla="*/ 27075 h 271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70842" h="2714017">
                <a:moveTo>
                  <a:pt x="2587557" y="0"/>
                </a:moveTo>
                <a:lnTo>
                  <a:pt x="0" y="0"/>
                </a:lnTo>
                <a:lnTo>
                  <a:pt x="0" y="2714017"/>
                </a:lnTo>
                <a:lnTo>
                  <a:pt x="7470842" y="2714017"/>
                </a:lnTo>
                <a:lnTo>
                  <a:pt x="7470842" y="19455"/>
                </a:lnTo>
                <a:lnTo>
                  <a:pt x="4839510" y="27075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452491" y="2176906"/>
            <a:ext cx="7323982" cy="2653027"/>
          </a:xfrm>
          <a:noFill/>
        </p:spPr>
        <p:txBody>
          <a:bodyPr vert="horz" wrap="square" lIns="146304" tIns="91440" rIns="146304" bIns="0" rtlCol="0" anchor="ctr" anchorCtr="0">
            <a:noAutofit/>
          </a:bodyPr>
          <a:lstStyle>
            <a:lvl1pPr algn="ctr">
              <a:defRPr lang="en-US" sz="5294" spc="-98" dirty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lvl="0"/>
            <a:r>
              <a:rPr lang="en-US" dirty="0"/>
              <a:t>SECTION TITLE</a:t>
            </a:r>
          </a:p>
        </p:txBody>
      </p:sp>
      <p:grpSp>
        <p:nvGrpSpPr>
          <p:cNvPr id="16" name="Group 8"/>
          <p:cNvGrpSpPr>
            <a:grpSpLocks noChangeAspect="1"/>
          </p:cNvGrpSpPr>
          <p:nvPr userDrawn="1"/>
        </p:nvGrpSpPr>
        <p:grpSpPr bwMode="auto">
          <a:xfrm>
            <a:off x="5648372" y="1709951"/>
            <a:ext cx="932220" cy="933908"/>
            <a:chOff x="64" y="750"/>
            <a:chExt cx="599" cy="600"/>
          </a:xfrm>
          <a:solidFill>
            <a:schemeClr val="tx1"/>
          </a:solidFill>
        </p:grpSpPr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64" y="750"/>
              <a:ext cx="599" cy="600"/>
            </a:xfrm>
            <a:custGeom>
              <a:avLst/>
              <a:gdLst>
                <a:gd name="T0" fmla="*/ 156 w 312"/>
                <a:gd name="T1" fmla="*/ 0 h 312"/>
                <a:gd name="T2" fmla="*/ 0 w 312"/>
                <a:gd name="T3" fmla="*/ 156 h 312"/>
                <a:gd name="T4" fmla="*/ 156 w 312"/>
                <a:gd name="T5" fmla="*/ 312 h 312"/>
                <a:gd name="T6" fmla="*/ 312 w 312"/>
                <a:gd name="T7" fmla="*/ 156 h 312"/>
                <a:gd name="T8" fmla="*/ 156 w 312"/>
                <a:gd name="T9" fmla="*/ 0 h 312"/>
                <a:gd name="T10" fmla="*/ 156 w 312"/>
                <a:gd name="T11" fmla="*/ 300 h 312"/>
                <a:gd name="T12" fmla="*/ 12 w 312"/>
                <a:gd name="T13" fmla="*/ 156 h 312"/>
                <a:gd name="T14" fmla="*/ 156 w 312"/>
                <a:gd name="T15" fmla="*/ 12 h 312"/>
                <a:gd name="T16" fmla="*/ 300 w 312"/>
                <a:gd name="T17" fmla="*/ 156 h 312"/>
                <a:gd name="T18" fmla="*/ 156 w 312"/>
                <a:gd name="T19" fmla="*/ 30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2" h="312">
                  <a:moveTo>
                    <a:pt x="156" y="0"/>
                  </a:moveTo>
                  <a:cubicBezTo>
                    <a:pt x="70" y="0"/>
                    <a:pt x="0" y="70"/>
                    <a:pt x="0" y="156"/>
                  </a:cubicBezTo>
                  <a:cubicBezTo>
                    <a:pt x="0" y="242"/>
                    <a:pt x="70" y="312"/>
                    <a:pt x="156" y="312"/>
                  </a:cubicBezTo>
                  <a:cubicBezTo>
                    <a:pt x="242" y="312"/>
                    <a:pt x="312" y="242"/>
                    <a:pt x="312" y="156"/>
                  </a:cubicBezTo>
                  <a:cubicBezTo>
                    <a:pt x="312" y="70"/>
                    <a:pt x="242" y="0"/>
                    <a:pt x="156" y="0"/>
                  </a:cubicBezTo>
                  <a:close/>
                  <a:moveTo>
                    <a:pt x="156" y="300"/>
                  </a:moveTo>
                  <a:cubicBezTo>
                    <a:pt x="77" y="300"/>
                    <a:pt x="12" y="235"/>
                    <a:pt x="12" y="156"/>
                  </a:cubicBezTo>
                  <a:cubicBezTo>
                    <a:pt x="12" y="77"/>
                    <a:pt x="77" y="12"/>
                    <a:pt x="156" y="12"/>
                  </a:cubicBezTo>
                  <a:cubicBezTo>
                    <a:pt x="235" y="12"/>
                    <a:pt x="300" y="77"/>
                    <a:pt x="300" y="156"/>
                  </a:cubicBezTo>
                  <a:cubicBezTo>
                    <a:pt x="300" y="235"/>
                    <a:pt x="235" y="300"/>
                    <a:pt x="156" y="3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160" y="846"/>
              <a:ext cx="407" cy="408"/>
            </a:xfrm>
            <a:custGeom>
              <a:avLst/>
              <a:gdLst>
                <a:gd name="T0" fmla="*/ 206 w 212"/>
                <a:gd name="T1" fmla="*/ 100 h 212"/>
                <a:gd name="T2" fmla="*/ 112 w 212"/>
                <a:gd name="T3" fmla="*/ 100 h 212"/>
                <a:gd name="T4" fmla="*/ 112 w 212"/>
                <a:gd name="T5" fmla="*/ 6 h 212"/>
                <a:gd name="T6" fmla="*/ 106 w 212"/>
                <a:gd name="T7" fmla="*/ 0 h 212"/>
                <a:gd name="T8" fmla="*/ 100 w 212"/>
                <a:gd name="T9" fmla="*/ 6 h 212"/>
                <a:gd name="T10" fmla="*/ 100 w 212"/>
                <a:gd name="T11" fmla="*/ 100 h 212"/>
                <a:gd name="T12" fmla="*/ 6 w 212"/>
                <a:gd name="T13" fmla="*/ 100 h 212"/>
                <a:gd name="T14" fmla="*/ 0 w 212"/>
                <a:gd name="T15" fmla="*/ 106 h 212"/>
                <a:gd name="T16" fmla="*/ 6 w 212"/>
                <a:gd name="T17" fmla="*/ 112 h 212"/>
                <a:gd name="T18" fmla="*/ 100 w 212"/>
                <a:gd name="T19" fmla="*/ 112 h 212"/>
                <a:gd name="T20" fmla="*/ 100 w 212"/>
                <a:gd name="T21" fmla="*/ 206 h 212"/>
                <a:gd name="T22" fmla="*/ 106 w 212"/>
                <a:gd name="T23" fmla="*/ 212 h 212"/>
                <a:gd name="T24" fmla="*/ 112 w 212"/>
                <a:gd name="T25" fmla="*/ 206 h 212"/>
                <a:gd name="T26" fmla="*/ 112 w 212"/>
                <a:gd name="T27" fmla="*/ 112 h 212"/>
                <a:gd name="T28" fmla="*/ 206 w 212"/>
                <a:gd name="T29" fmla="*/ 112 h 212"/>
                <a:gd name="T30" fmla="*/ 212 w 212"/>
                <a:gd name="T31" fmla="*/ 106 h 212"/>
                <a:gd name="T32" fmla="*/ 206 w 212"/>
                <a:gd name="T33" fmla="*/ 10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2" h="212">
                  <a:moveTo>
                    <a:pt x="206" y="100"/>
                  </a:moveTo>
                  <a:cubicBezTo>
                    <a:pt x="112" y="100"/>
                    <a:pt x="112" y="100"/>
                    <a:pt x="112" y="10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3"/>
                    <a:pt x="109" y="0"/>
                    <a:pt x="106" y="0"/>
                  </a:cubicBezTo>
                  <a:cubicBezTo>
                    <a:pt x="103" y="0"/>
                    <a:pt x="100" y="3"/>
                    <a:pt x="100" y="6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3" y="100"/>
                    <a:pt x="0" y="103"/>
                    <a:pt x="0" y="106"/>
                  </a:cubicBezTo>
                  <a:cubicBezTo>
                    <a:pt x="0" y="109"/>
                    <a:pt x="3" y="112"/>
                    <a:pt x="6" y="112"/>
                  </a:cubicBezTo>
                  <a:cubicBezTo>
                    <a:pt x="100" y="112"/>
                    <a:pt x="100" y="112"/>
                    <a:pt x="100" y="112"/>
                  </a:cubicBezTo>
                  <a:cubicBezTo>
                    <a:pt x="100" y="206"/>
                    <a:pt x="100" y="206"/>
                    <a:pt x="100" y="206"/>
                  </a:cubicBezTo>
                  <a:cubicBezTo>
                    <a:pt x="100" y="209"/>
                    <a:pt x="103" y="212"/>
                    <a:pt x="106" y="212"/>
                  </a:cubicBezTo>
                  <a:cubicBezTo>
                    <a:pt x="109" y="212"/>
                    <a:pt x="112" y="209"/>
                    <a:pt x="112" y="206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206" y="112"/>
                    <a:pt x="206" y="112"/>
                    <a:pt x="206" y="112"/>
                  </a:cubicBezTo>
                  <a:cubicBezTo>
                    <a:pt x="209" y="112"/>
                    <a:pt x="212" y="109"/>
                    <a:pt x="212" y="106"/>
                  </a:cubicBezTo>
                  <a:cubicBezTo>
                    <a:pt x="212" y="103"/>
                    <a:pt x="209" y="100"/>
                    <a:pt x="206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</p:grpSp>
    </p:spTree>
    <p:extLst>
      <p:ext uri="{BB962C8B-B14F-4D97-AF65-F5344CB8AC3E}">
        <p14:creationId xmlns:p14="http://schemas.microsoft.com/office/powerpoint/2010/main" val="1205203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5" name="Rectangle 134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7" name="Group 13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138" name="TextBox 13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139" name="Group 13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40" name="Oval 13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42" name="Group 14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43" name="TextBox 14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45" name="Oval 14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6" name="Group 14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4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5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152" name="TextBox 15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153" name="Group 15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154" name="Oval 15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15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164" name="Group 16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165" name="TextBox 16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166" name="Group 16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169" name="Group 16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170" name="TextBox 16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171" name="Group 17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172" name="Oval 17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4" name="Group 17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175" name="TextBox 17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176" name="Group 17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177" name="Oval 17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03554438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1" y="1143217"/>
            <a:ext cx="10090707" cy="452654"/>
          </a:xfrm>
        </p:spPr>
        <p:txBody>
          <a:bodyPr/>
          <a:lstStyle>
            <a:lvl1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2pPr>
            <a:lvl3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3pPr>
            <a:lvl4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4pPr>
            <a:lvl5pPr marL="0" algn="l" defTabSz="914367" rtl="0" eaLnBrk="1" latinLnBrk="0" hangingPunct="1">
              <a:defRPr lang="en-US" sz="1961" kern="1200" spc="98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5" name="Rectangle 134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7" name="Group 13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138" name="TextBox 13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139" name="Group 13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40" name="Oval 13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42" name="Group 14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43" name="TextBox 14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45" name="Oval 14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6" name="Group 14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4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5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152" name="TextBox 15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153" name="Group 15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154" name="Oval 15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15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164" name="Group 16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165" name="TextBox 16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166" name="Group 16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169" name="Group 16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170" name="TextBox 16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171" name="Group 17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172" name="Oval 17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4" name="Group 17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175" name="TextBox 17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176" name="Group 17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177" name="Oval 17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69240" y="1595427"/>
            <a:ext cx="10092748" cy="1620500"/>
          </a:xfrm>
        </p:spPr>
        <p:txBody>
          <a:bodyPr/>
          <a:lstStyle>
            <a:lvl1pPr marL="230321" indent="-230321">
              <a:spcAft>
                <a:spcPts val="588"/>
              </a:spcAft>
              <a:buFont typeface="Arial" panose="020B0604020202020204" pitchFamily="34" charset="0"/>
              <a:buChar char="•"/>
              <a:tabLst>
                <a:tab pos="172742" algn="l"/>
              </a:tabLst>
              <a:defRPr lang="en-US" sz="1765" kern="1200" spc="98" baseline="0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Edit Master text styles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31760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1" y="1143217"/>
            <a:ext cx="10100460" cy="452654"/>
          </a:xfrm>
        </p:spPr>
        <p:txBody>
          <a:bodyPr/>
          <a:lstStyle>
            <a:lvl1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2pPr>
            <a:lvl3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3pPr>
            <a:lvl4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4pPr>
            <a:lvl5pPr marL="0" algn="l" defTabSz="914367" rtl="0" eaLnBrk="1" latinLnBrk="0" hangingPunct="1">
              <a:defRPr lang="en-US" sz="1961" kern="1200" spc="98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5" name="Rectangle 134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7" name="Group 13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138" name="TextBox 13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139" name="Group 13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40" name="Oval 13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42" name="Group 14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43" name="TextBox 14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45" name="Oval 14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6" name="Group 14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4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5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152" name="TextBox 15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153" name="Group 15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154" name="Oval 15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15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164" name="Group 16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165" name="TextBox 16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166" name="Group 16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169" name="Group 16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170" name="TextBox 16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171" name="Group 17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172" name="Oval 17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4" name="Group 17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175" name="TextBox 17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176" name="Group 17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177" name="Oval 17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69240" y="1595427"/>
            <a:ext cx="10094766" cy="1620500"/>
          </a:xfrm>
        </p:spPr>
        <p:txBody>
          <a:bodyPr/>
          <a:lstStyle>
            <a:lvl1pPr marL="230321" indent="-230321">
              <a:spcAft>
                <a:spcPts val="588"/>
              </a:spcAft>
              <a:buFont typeface="Arial" panose="020B0604020202020204" pitchFamily="34" charset="0"/>
              <a:buChar char="•"/>
              <a:tabLst>
                <a:tab pos="172742" algn="l"/>
              </a:tabLst>
              <a:defRPr lang="en-US" sz="1765" kern="1200" spc="98" baseline="0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Edit Master text styles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889488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1" y="1143217"/>
            <a:ext cx="10090707" cy="452654"/>
          </a:xfrm>
        </p:spPr>
        <p:txBody>
          <a:bodyPr/>
          <a:lstStyle>
            <a:lvl1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2pPr>
            <a:lvl3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3pPr>
            <a:lvl4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4pPr>
            <a:lvl5pPr marL="0" algn="l" defTabSz="914367" rtl="0" eaLnBrk="1" latinLnBrk="0" hangingPunct="1">
              <a:defRPr lang="en-US" sz="1961" kern="1200" spc="98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5" name="Rectangle 134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7" name="Group 13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138" name="TextBox 13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139" name="Group 13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40" name="Oval 13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42" name="Group 14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43" name="TextBox 14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45" name="Oval 14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6" name="Group 14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4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5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152" name="TextBox 15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153" name="Group 15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154" name="Oval 15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15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164" name="Group 16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165" name="TextBox 16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166" name="Group 16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169" name="Group 16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170" name="TextBox 16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171" name="Group 17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172" name="Oval 17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4" name="Group 17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175" name="TextBox 17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176" name="Group 17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177" name="Oval 17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69240" y="1595428"/>
            <a:ext cx="5833345" cy="1490921"/>
          </a:xfrm>
        </p:spPr>
        <p:txBody>
          <a:bodyPr/>
          <a:lstStyle>
            <a:lvl1pPr marL="336145" indent="-336145">
              <a:spcAft>
                <a:spcPts val="588"/>
              </a:spcAft>
              <a:buFont typeface="Arial" panose="020B0604020202020204" pitchFamily="34" charset="0"/>
              <a:buChar char="•"/>
              <a:tabLst>
                <a:tab pos="172742" algn="l"/>
              </a:tabLst>
              <a:defRPr lang="en-US" sz="1765" kern="1200" spc="98" baseline="0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  <a:lvl2pPr marL="441968" indent="-104268">
              <a:buFont typeface="Arial" panose="020B0604020202020204" pitchFamily="34" charset="0"/>
              <a:buChar char="•"/>
              <a:defRPr sz="1568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Edit Master text styles</a:t>
            </a:r>
          </a:p>
          <a:p>
            <a:pPr marL="441968" marR="0" lvl="1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547792" marR="0" lvl="1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547792" marR="0" lvl="1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547792" marR="0" lvl="1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3281878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1" y="1143217"/>
            <a:ext cx="10090707" cy="452654"/>
          </a:xfrm>
        </p:spPr>
        <p:txBody>
          <a:bodyPr/>
          <a:lstStyle>
            <a:lvl1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2pPr>
            <a:lvl3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3pPr>
            <a:lvl4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4pPr>
            <a:lvl5pPr marL="0" algn="l" defTabSz="914367" rtl="0" eaLnBrk="1" latinLnBrk="0" hangingPunct="1">
              <a:defRPr lang="en-US" sz="1961" kern="1200" spc="98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5" name="Rectangle 134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7" name="Group 13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138" name="TextBox 13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139" name="Group 13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40" name="Oval 13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42" name="Group 14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43" name="TextBox 14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45" name="Oval 14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6" name="Group 14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4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5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152" name="TextBox 15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153" name="Group 15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154" name="Oval 15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15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164" name="Group 16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165" name="TextBox 16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166" name="Group 16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169" name="Group 16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170" name="TextBox 16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171" name="Group 17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172" name="Oval 17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4" name="Group 17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175" name="TextBox 17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176" name="Group 17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177" name="Oval 17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26602" y="1595427"/>
            <a:ext cx="5833345" cy="1620500"/>
          </a:xfrm>
        </p:spPr>
        <p:txBody>
          <a:bodyPr/>
          <a:lstStyle>
            <a:lvl1pPr marL="230321" indent="-230321">
              <a:spcAft>
                <a:spcPts val="588"/>
              </a:spcAft>
              <a:buFont typeface="Arial" panose="020B0604020202020204" pitchFamily="34" charset="0"/>
              <a:buChar char="•"/>
              <a:tabLst>
                <a:tab pos="172742" algn="l"/>
              </a:tabLst>
              <a:defRPr lang="en-US" sz="1765" kern="1200" spc="98" baseline="0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Edit Master text styles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8222596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1" y="1143217"/>
            <a:ext cx="10090707" cy="452654"/>
          </a:xfrm>
        </p:spPr>
        <p:txBody>
          <a:bodyPr/>
          <a:lstStyle>
            <a:lvl1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2pPr>
            <a:lvl3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3pPr>
            <a:lvl4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4pPr>
            <a:lvl5pPr marL="0" algn="l" defTabSz="914367" rtl="0" eaLnBrk="1" latinLnBrk="0" hangingPunct="1">
              <a:defRPr lang="en-US" sz="1961" kern="1200" spc="98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5" name="Rectangle 134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7" name="Group 13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138" name="TextBox 13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139" name="Group 13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40" name="Oval 13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42" name="Group 14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43" name="TextBox 14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45" name="Oval 14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6" name="Group 14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4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5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152" name="TextBox 15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153" name="Group 15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154" name="Oval 15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15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164" name="Group 16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165" name="TextBox 16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166" name="Group 16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169" name="Group 16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170" name="TextBox 16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171" name="Group 17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172" name="Oval 17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4" name="Group 17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175" name="TextBox 17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176" name="Group 17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177" name="Oval 17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80" name="Rectangle 179"/>
          <p:cNvSpPr/>
          <p:nvPr userDrawn="1"/>
        </p:nvSpPr>
        <p:spPr>
          <a:xfrm>
            <a:off x="6102585" y="6149978"/>
            <a:ext cx="1147122" cy="561290"/>
          </a:xfrm>
          <a:prstGeom prst="rect">
            <a:avLst/>
          </a:prstGeom>
        </p:spPr>
        <p:txBody>
          <a:bodyPr wrap="square" lIns="0" tIns="143428" bIns="143428" anchor="ctr" anchorCtr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z="1961" kern="1200" spc="98" baseline="0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URL: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711694" y="6204297"/>
            <a:ext cx="3648254" cy="452654"/>
          </a:xfrm>
        </p:spPr>
        <p:txBody>
          <a:bodyPr lIns="91440"/>
          <a:lstStyle>
            <a:lvl1pPr>
              <a:defRPr sz="1961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1961"/>
            </a:lvl2pPr>
            <a:lvl3pPr>
              <a:defRPr sz="1961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69240" y="1595427"/>
            <a:ext cx="5833345" cy="1388138"/>
          </a:xfrm>
        </p:spPr>
        <p:txBody>
          <a:bodyPr/>
          <a:lstStyle>
            <a:lvl1pPr marL="222541" indent="-222541">
              <a:spcAft>
                <a:spcPts val="588"/>
              </a:spcAft>
              <a:buFont typeface="Arial" panose="020B0604020202020204" pitchFamily="34" charset="0"/>
              <a:buChar char="•"/>
              <a:tabLst>
                <a:tab pos="52912" algn="l"/>
              </a:tabLst>
              <a:defRPr lang="en-US" sz="1765" kern="1200" spc="98" baseline="0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  <a:lvl2pPr marL="392169" indent="-286346">
              <a:buClr>
                <a:schemeClr val="accent3"/>
              </a:buClr>
              <a:buFont typeface="Arial" panose="020B0604020202020204" pitchFamily="34" charset="0"/>
              <a:buChar char="•"/>
              <a:defRPr sz="1568" spc="98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4pPr>
              <a:buFont typeface="Arial" panose="020B0604020202020204" pitchFamily="34" charset="0"/>
              <a:buChar char="•"/>
              <a:defRPr sz="1372">
                <a:latin typeface="Segoe UI" panose="020B0502040204020203" pitchFamily="34" charset="0"/>
                <a:cs typeface="Segoe UI" panose="020B0502040204020203" pitchFamily="34" charset="0"/>
              </a:defRPr>
            </a:lvl4pPr>
          </a:lstStyle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Edit Master text styles</a:t>
            </a:r>
          </a:p>
          <a:p>
            <a:pPr marL="441968" marR="0" lvl="1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890161" marR="0" lvl="3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890161" marR="0" lvl="3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890161" marR="0" lvl="3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8630455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1" y="1143217"/>
            <a:ext cx="10090707" cy="452654"/>
          </a:xfrm>
        </p:spPr>
        <p:txBody>
          <a:bodyPr/>
          <a:lstStyle>
            <a:lvl1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2pPr>
            <a:lvl3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3pPr>
            <a:lvl4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4pPr>
            <a:lvl5pPr marL="0" algn="l" defTabSz="914367" rtl="0" eaLnBrk="1" latinLnBrk="0" hangingPunct="1">
              <a:defRPr lang="en-US" sz="1961" kern="1200" spc="98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5" name="Rectangle 134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7" name="Group 13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138" name="TextBox 13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139" name="Group 13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40" name="Oval 13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42" name="Group 14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43" name="TextBox 14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45" name="Oval 14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6" name="Group 14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4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5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152" name="TextBox 15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153" name="Group 15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154" name="Oval 15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15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164" name="Group 16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165" name="TextBox 16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166" name="Group 16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169" name="Group 16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170" name="TextBox 16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171" name="Group 17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172" name="Oval 17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4" name="Group 17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175" name="TextBox 17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176" name="Group 17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177" name="Oval 17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26602" y="1595428"/>
            <a:ext cx="5833345" cy="1587306"/>
          </a:xfrm>
        </p:spPr>
        <p:txBody>
          <a:bodyPr/>
          <a:lstStyle>
            <a:lvl1pPr marL="230321" indent="-230321">
              <a:spcAft>
                <a:spcPts val="588"/>
              </a:spcAft>
              <a:buFont typeface="Arial" panose="020B0604020202020204" pitchFamily="34" charset="0"/>
              <a:buChar char="•"/>
              <a:tabLst>
                <a:tab pos="172742" algn="l"/>
              </a:tabLst>
              <a:defRPr lang="en-US" sz="1765" kern="1200" spc="98" baseline="0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  <a:lvl2pPr>
              <a:defRPr lang="en-US" sz="1568" kern="1200" spc="98" baseline="0" dirty="0" smtClean="0">
                <a:gradFill>
                  <a:gsLst>
                    <a:gs pos="1250">
                      <a:schemeClr val="tx2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</a:lstStyle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Edit Master text styles</a:t>
            </a:r>
          </a:p>
          <a:p>
            <a:pPr marL="441968" marR="0" lvl="1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6102585" y="6149978"/>
            <a:ext cx="1147122" cy="561290"/>
          </a:xfrm>
          <a:prstGeom prst="rect">
            <a:avLst/>
          </a:prstGeom>
        </p:spPr>
        <p:txBody>
          <a:bodyPr wrap="square" lIns="0" tIns="143428" bIns="143428" anchor="ctr" anchorCtr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z="1961" kern="1200" spc="98" baseline="0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URL: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711694" y="6204297"/>
            <a:ext cx="3648254" cy="452654"/>
          </a:xfrm>
        </p:spPr>
        <p:txBody>
          <a:bodyPr lIns="91440"/>
          <a:lstStyle>
            <a:lvl1pPr>
              <a:defRPr sz="1961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1961"/>
            </a:lvl2pPr>
            <a:lvl3pPr>
              <a:defRPr sz="1961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99625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3447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1" y="1143217"/>
            <a:ext cx="10100460" cy="452654"/>
          </a:xfrm>
        </p:spPr>
        <p:txBody>
          <a:bodyPr/>
          <a:lstStyle>
            <a:lvl1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2pPr>
            <a:lvl3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3pPr>
            <a:lvl4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4pPr>
            <a:lvl5pPr marL="0" algn="l" defTabSz="914367" rtl="0" eaLnBrk="1" latinLnBrk="0" hangingPunct="1">
              <a:defRPr lang="en-US" sz="1961" kern="1200" spc="98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5" name="Rectangle 134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7" name="Group 13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138" name="TextBox 13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139" name="Group 13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40" name="Oval 13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42" name="Group 14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43" name="TextBox 14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45" name="Oval 14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6" name="Group 14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4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5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152" name="TextBox 15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153" name="Group 15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154" name="Oval 15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15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164" name="Group 16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165" name="TextBox 16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166" name="Group 16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169" name="Group 16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170" name="TextBox 16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171" name="Group 17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172" name="Oval 17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4" name="Group 17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175" name="TextBox 17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176" name="Group 17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177" name="Oval 17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69240" y="1595427"/>
            <a:ext cx="10094766" cy="1620500"/>
          </a:xfrm>
        </p:spPr>
        <p:txBody>
          <a:bodyPr/>
          <a:lstStyle>
            <a:lvl1pPr marL="230321" indent="-230321">
              <a:spcAft>
                <a:spcPts val="588"/>
              </a:spcAft>
              <a:buFont typeface="Arial" panose="020B0604020202020204" pitchFamily="34" charset="0"/>
              <a:buChar char="•"/>
              <a:tabLst>
                <a:tab pos="172742" algn="l"/>
              </a:tabLst>
              <a:defRPr lang="en-US" sz="1765" kern="1200" spc="98" baseline="0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Edit Master text styles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  <p:sp>
        <p:nvSpPr>
          <p:cNvPr id="54" name="Rectangle 53"/>
          <p:cNvSpPr/>
          <p:nvPr userDrawn="1"/>
        </p:nvSpPr>
        <p:spPr>
          <a:xfrm>
            <a:off x="6102585" y="6149978"/>
            <a:ext cx="1147122" cy="561290"/>
          </a:xfrm>
          <a:prstGeom prst="rect">
            <a:avLst/>
          </a:prstGeom>
        </p:spPr>
        <p:txBody>
          <a:bodyPr wrap="square" lIns="0" tIns="143428" bIns="143428" anchor="ctr" anchorCtr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z="1961" kern="1200" spc="98" baseline="0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URL:</a:t>
            </a:r>
          </a:p>
        </p:txBody>
      </p:sp>
      <p:sp>
        <p:nvSpPr>
          <p:cNvPr id="55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711694" y="6204297"/>
            <a:ext cx="3648254" cy="452654"/>
          </a:xfrm>
        </p:spPr>
        <p:txBody>
          <a:bodyPr lIns="91440"/>
          <a:lstStyle>
            <a:lvl1pPr>
              <a:defRPr sz="1961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1961"/>
            </a:lvl2pPr>
            <a:lvl3pPr>
              <a:defRPr sz="1961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756898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5" name="Rectangle 134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7" name="Group 13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138" name="TextBox 13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139" name="Group 13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40" name="Oval 13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42" name="Group 14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43" name="TextBox 14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45" name="Oval 14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6" name="Group 14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4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5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152" name="TextBox 15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153" name="Group 15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154" name="Oval 15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15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16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164" name="Group 16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165" name="TextBox 16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166" name="Group 16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169" name="Group 16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170" name="TextBox 16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171" name="Group 17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172" name="Oval 17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4" name="Group 17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175" name="TextBox 17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176" name="Group 17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177" name="Oval 17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54" name="Rectangle 53"/>
          <p:cNvSpPr/>
          <p:nvPr userDrawn="1"/>
        </p:nvSpPr>
        <p:spPr>
          <a:xfrm>
            <a:off x="6102585" y="6149978"/>
            <a:ext cx="1147122" cy="561290"/>
          </a:xfrm>
          <a:prstGeom prst="rect">
            <a:avLst/>
          </a:prstGeom>
        </p:spPr>
        <p:txBody>
          <a:bodyPr wrap="square" lIns="0" tIns="143428" bIns="143428" anchor="ctr" anchorCtr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z="1961" kern="1200" spc="98" baseline="0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URL:</a:t>
            </a:r>
          </a:p>
        </p:txBody>
      </p:sp>
      <p:sp>
        <p:nvSpPr>
          <p:cNvPr id="55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711694" y="6204297"/>
            <a:ext cx="3648254" cy="452654"/>
          </a:xfrm>
        </p:spPr>
        <p:txBody>
          <a:bodyPr lIns="91440"/>
          <a:lstStyle>
            <a:lvl1pPr>
              <a:defRPr sz="1961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1961"/>
            </a:lvl2pPr>
            <a:lvl3pPr>
              <a:defRPr sz="1961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585427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290218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1654587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_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462683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272390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1" y="1143217"/>
            <a:ext cx="10090707" cy="452654"/>
          </a:xfrm>
        </p:spPr>
        <p:txBody>
          <a:bodyPr/>
          <a:lstStyle>
            <a:lvl1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2pPr>
            <a:lvl3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3pPr>
            <a:lvl4pPr marL="0" algn="l" defTabSz="914367" rtl="0" eaLnBrk="1" latinLnBrk="0" hangingPunct="1">
              <a:defRPr lang="en-US" sz="1961" kern="1200" spc="98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4pPr>
            <a:lvl5pPr marL="0" algn="l" defTabSz="914367" rtl="0" eaLnBrk="1" latinLnBrk="0" hangingPunct="1">
              <a:defRPr lang="en-US" sz="1961" kern="1200" spc="98" dirty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90707" cy="83288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6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26602" y="1595427"/>
            <a:ext cx="5833345" cy="1620500"/>
          </a:xfrm>
        </p:spPr>
        <p:txBody>
          <a:bodyPr/>
          <a:lstStyle>
            <a:lvl1pPr marL="230321" indent="-230321">
              <a:spcAft>
                <a:spcPts val="588"/>
              </a:spcAft>
              <a:buFont typeface="Arial" panose="020B0604020202020204" pitchFamily="34" charset="0"/>
              <a:buChar char="•"/>
              <a:tabLst>
                <a:tab pos="172742" algn="l"/>
              </a:tabLst>
              <a:defRPr lang="en-US" sz="1765" kern="1200" spc="98" baseline="0" dirty="0" smtClean="0">
                <a:gradFill>
                  <a:gsLst>
                    <a:gs pos="2917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Edit Master text styles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336145" marR="0" lvl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0497969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0017034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6" name="TextBox 5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7" name="Group 6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8" name="Oval 7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0" name="Group 9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2" name="Group 11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3" name="Oval 12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4" name="Group 13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5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6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7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8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19" name="Group 18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20" name="TextBox 19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21" name="Group 20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22" name="Oval 21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23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24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25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26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27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28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29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0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1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32" name="Group 31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33" name="TextBox 32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34" name="Group 33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35" name="Oval 34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37" name="Group 36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38" name="TextBox 37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39" name="Group 38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40" name="Oval 39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2" name="Group 41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43" name="TextBox 42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44" name="Group 43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45" name="Oval 44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7742443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1"/>
            <a:ext cx="10033747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0031752" cy="1985641"/>
          </a:xfrm>
        </p:spPr>
        <p:txBody>
          <a:bodyPr lIns="182880"/>
          <a:lstStyle>
            <a:lvl1pPr marL="0" indent="0">
              <a:buNone/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0578398" y="0"/>
            <a:ext cx="16136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1168212" y="6236539"/>
            <a:ext cx="433975" cy="3642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marL="0" algn="ct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10817515" y="300725"/>
            <a:ext cx="1135374" cy="843435"/>
            <a:chOff x="11034425" y="421397"/>
            <a:chExt cx="1158140" cy="860225"/>
          </a:xfrm>
        </p:grpSpPr>
        <p:sp>
          <p:nvSpPr>
            <p:cNvPr id="8" name="TextBox 7"/>
            <p:cNvSpPr txBox="1"/>
            <p:nvPr userDrawn="1"/>
          </p:nvSpPr>
          <p:spPr>
            <a:xfrm>
              <a:off x="11034425" y="982499"/>
              <a:ext cx="1158140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OMNI-CHANNEL</a:t>
              </a:r>
            </a:p>
          </p:txBody>
        </p:sp>
        <p:grpSp>
          <p:nvGrpSpPr>
            <p:cNvPr id="9" name="Group 8"/>
            <p:cNvGrpSpPr/>
            <p:nvPr userDrawn="1"/>
          </p:nvGrpSpPr>
          <p:grpSpPr>
            <a:xfrm>
              <a:off x="11333432" y="421397"/>
              <a:ext cx="560126" cy="560126"/>
              <a:chOff x="11297003" y="421397"/>
              <a:chExt cx="560126" cy="560126"/>
            </a:xfrm>
          </p:grpSpPr>
          <p:sp>
            <p:nvSpPr>
              <p:cNvPr id="10" name="Oval 9"/>
              <p:cNvSpPr/>
              <p:nvPr userDrawn="1"/>
            </p:nvSpPr>
            <p:spPr bwMode="auto">
              <a:xfrm>
                <a:off x="11297003" y="421397"/>
                <a:ext cx="560126" cy="560126"/>
              </a:xfrm>
              <a:prstGeom prst="ellipse">
                <a:avLst/>
              </a:prstGeom>
              <a:solidFill>
                <a:srgbClr val="BFBFB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" name="Freeform 41"/>
              <p:cNvSpPr>
                <a:spLocks noChangeAspect="1"/>
              </p:cNvSpPr>
              <p:nvPr userDrawn="1"/>
            </p:nvSpPr>
            <p:spPr bwMode="black">
              <a:xfrm>
                <a:off x="11386551" y="541291"/>
                <a:ext cx="343322" cy="339192"/>
              </a:xfrm>
              <a:custGeom>
                <a:avLst/>
                <a:gdLst>
                  <a:gd name="T0" fmla="*/ 539 w 669"/>
                  <a:gd name="T1" fmla="*/ 5 h 693"/>
                  <a:gd name="T2" fmla="*/ 640 w 669"/>
                  <a:gd name="T3" fmla="*/ 55 h 693"/>
                  <a:gd name="T4" fmla="*/ 603 w 669"/>
                  <a:gd name="T5" fmla="*/ 195 h 693"/>
                  <a:gd name="T6" fmla="*/ 490 w 669"/>
                  <a:gd name="T7" fmla="*/ 188 h 693"/>
                  <a:gd name="T8" fmla="*/ 479 w 669"/>
                  <a:gd name="T9" fmla="*/ 176 h 693"/>
                  <a:gd name="T10" fmla="*/ 213 w 669"/>
                  <a:gd name="T11" fmla="*/ 330 h 693"/>
                  <a:gd name="T12" fmla="*/ 218 w 669"/>
                  <a:gd name="T13" fmla="*/ 345 h 693"/>
                  <a:gd name="T14" fmla="*/ 218 w 669"/>
                  <a:gd name="T15" fmla="*/ 375 h 693"/>
                  <a:gd name="T16" fmla="*/ 209 w 669"/>
                  <a:gd name="T17" fmla="*/ 402 h 693"/>
                  <a:gd name="T18" fmla="*/ 369 w 669"/>
                  <a:gd name="T19" fmla="*/ 503 h 693"/>
                  <a:gd name="T20" fmla="*/ 373 w 669"/>
                  <a:gd name="T21" fmla="*/ 498 h 693"/>
                  <a:gd name="T22" fmla="*/ 456 w 669"/>
                  <a:gd name="T23" fmla="*/ 475 h 693"/>
                  <a:gd name="T24" fmla="*/ 494 w 669"/>
                  <a:gd name="T25" fmla="*/ 489 h 693"/>
                  <a:gd name="T26" fmla="*/ 527 w 669"/>
                  <a:gd name="T27" fmla="*/ 630 h 693"/>
                  <a:gd name="T28" fmla="*/ 386 w 669"/>
                  <a:gd name="T29" fmla="*/ 663 h 693"/>
                  <a:gd name="T30" fmla="*/ 339 w 669"/>
                  <a:gd name="T31" fmla="*/ 560 h 693"/>
                  <a:gd name="T32" fmla="*/ 345 w 669"/>
                  <a:gd name="T33" fmla="*/ 544 h 693"/>
                  <a:gd name="T34" fmla="*/ 177 w 669"/>
                  <a:gd name="T35" fmla="*/ 439 h 693"/>
                  <a:gd name="T36" fmla="*/ 168 w 669"/>
                  <a:gd name="T37" fmla="*/ 446 h 693"/>
                  <a:gd name="T38" fmla="*/ 28 w 669"/>
                  <a:gd name="T39" fmla="*/ 409 h 693"/>
                  <a:gd name="T40" fmla="*/ 65 w 669"/>
                  <a:gd name="T41" fmla="*/ 269 h 693"/>
                  <a:gd name="T42" fmla="*/ 178 w 669"/>
                  <a:gd name="T43" fmla="*/ 276 h 693"/>
                  <a:gd name="T44" fmla="*/ 189 w 669"/>
                  <a:gd name="T45" fmla="*/ 288 h 693"/>
                  <a:gd name="T46" fmla="*/ 455 w 669"/>
                  <a:gd name="T47" fmla="*/ 134 h 693"/>
                  <a:gd name="T48" fmla="*/ 450 w 669"/>
                  <a:gd name="T49" fmla="*/ 119 h 693"/>
                  <a:gd name="T50" fmla="*/ 501 w 669"/>
                  <a:gd name="T51" fmla="*/ 18 h 693"/>
                  <a:gd name="T52" fmla="*/ 539 w 669"/>
                  <a:gd name="T53" fmla="*/ 5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9" h="693">
                    <a:moveTo>
                      <a:pt x="539" y="5"/>
                    </a:moveTo>
                    <a:cubicBezTo>
                      <a:pt x="579" y="0"/>
                      <a:pt x="619" y="19"/>
                      <a:pt x="640" y="55"/>
                    </a:cubicBezTo>
                    <a:cubicBezTo>
                      <a:pt x="669" y="104"/>
                      <a:pt x="652" y="167"/>
                      <a:pt x="603" y="195"/>
                    </a:cubicBezTo>
                    <a:cubicBezTo>
                      <a:pt x="566" y="216"/>
                      <a:pt x="522" y="212"/>
                      <a:pt x="490" y="188"/>
                    </a:cubicBezTo>
                    <a:cubicBezTo>
                      <a:pt x="479" y="176"/>
                      <a:pt x="479" y="176"/>
                      <a:pt x="479" y="176"/>
                    </a:cubicBezTo>
                    <a:cubicBezTo>
                      <a:pt x="213" y="330"/>
                      <a:pt x="213" y="330"/>
                      <a:pt x="213" y="330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9" y="355"/>
                      <a:pt x="219" y="365"/>
                      <a:pt x="218" y="375"/>
                    </a:cubicBezTo>
                    <a:cubicBezTo>
                      <a:pt x="209" y="402"/>
                      <a:pt x="209" y="402"/>
                      <a:pt x="209" y="402"/>
                    </a:cubicBezTo>
                    <a:cubicBezTo>
                      <a:pt x="369" y="503"/>
                      <a:pt x="369" y="503"/>
                      <a:pt x="369" y="503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6" y="479"/>
                      <a:pt x="427" y="470"/>
                      <a:pt x="456" y="475"/>
                    </a:cubicBezTo>
                    <a:cubicBezTo>
                      <a:pt x="470" y="477"/>
                      <a:pt x="482" y="482"/>
                      <a:pt x="494" y="489"/>
                    </a:cubicBezTo>
                    <a:cubicBezTo>
                      <a:pt x="542" y="519"/>
                      <a:pt x="557" y="583"/>
                      <a:pt x="527" y="630"/>
                    </a:cubicBezTo>
                    <a:cubicBezTo>
                      <a:pt x="497" y="678"/>
                      <a:pt x="433" y="693"/>
                      <a:pt x="386" y="663"/>
                    </a:cubicBezTo>
                    <a:cubicBezTo>
                      <a:pt x="350" y="640"/>
                      <a:pt x="333" y="599"/>
                      <a:pt x="339" y="560"/>
                    </a:cubicBezTo>
                    <a:cubicBezTo>
                      <a:pt x="345" y="544"/>
                      <a:pt x="345" y="544"/>
                      <a:pt x="345" y="544"/>
                    </a:cubicBezTo>
                    <a:cubicBezTo>
                      <a:pt x="177" y="439"/>
                      <a:pt x="177" y="439"/>
                      <a:pt x="177" y="439"/>
                    </a:cubicBezTo>
                    <a:cubicBezTo>
                      <a:pt x="168" y="446"/>
                      <a:pt x="168" y="446"/>
                      <a:pt x="168" y="446"/>
                    </a:cubicBezTo>
                    <a:cubicBezTo>
                      <a:pt x="119" y="475"/>
                      <a:pt x="56" y="458"/>
                      <a:pt x="28" y="409"/>
                    </a:cubicBezTo>
                    <a:cubicBezTo>
                      <a:pt x="0" y="360"/>
                      <a:pt x="16" y="297"/>
                      <a:pt x="65" y="269"/>
                    </a:cubicBezTo>
                    <a:cubicBezTo>
                      <a:pt x="102" y="248"/>
                      <a:pt x="147" y="252"/>
                      <a:pt x="178" y="276"/>
                    </a:cubicBezTo>
                    <a:cubicBezTo>
                      <a:pt x="189" y="288"/>
                      <a:pt x="189" y="288"/>
                      <a:pt x="189" y="288"/>
                    </a:cubicBezTo>
                    <a:cubicBezTo>
                      <a:pt x="455" y="134"/>
                      <a:pt x="455" y="134"/>
                      <a:pt x="455" y="134"/>
                    </a:cubicBezTo>
                    <a:cubicBezTo>
                      <a:pt x="450" y="119"/>
                      <a:pt x="450" y="119"/>
                      <a:pt x="450" y="119"/>
                    </a:cubicBezTo>
                    <a:cubicBezTo>
                      <a:pt x="445" y="80"/>
                      <a:pt x="464" y="39"/>
                      <a:pt x="501" y="18"/>
                    </a:cubicBezTo>
                    <a:cubicBezTo>
                      <a:pt x="513" y="11"/>
                      <a:pt x="526" y="6"/>
                      <a:pt x="53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2" name="Group 11"/>
          <p:cNvGrpSpPr/>
          <p:nvPr userDrawn="1"/>
        </p:nvGrpSpPr>
        <p:grpSpPr>
          <a:xfrm>
            <a:off x="10681893" y="1206334"/>
            <a:ext cx="1406604" cy="841218"/>
            <a:chOff x="10896090" y="1314670"/>
            <a:chExt cx="1434810" cy="857964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10896090" y="1873510"/>
              <a:ext cx="1434810" cy="299124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MULTI-DIRECTIONAL</a:t>
              </a:r>
            </a:p>
          </p:txBody>
        </p:sp>
        <p:grpSp>
          <p:nvGrpSpPr>
            <p:cNvPr id="14" name="Group 13"/>
            <p:cNvGrpSpPr/>
            <p:nvPr userDrawn="1"/>
          </p:nvGrpSpPr>
          <p:grpSpPr>
            <a:xfrm>
              <a:off x="11333432" y="1314670"/>
              <a:ext cx="560126" cy="560126"/>
              <a:chOff x="11333428" y="1314670"/>
              <a:chExt cx="560126" cy="560126"/>
            </a:xfrm>
          </p:grpSpPr>
          <p:sp>
            <p:nvSpPr>
              <p:cNvPr id="15" name="Oval 14"/>
              <p:cNvSpPr/>
              <p:nvPr userDrawn="1"/>
            </p:nvSpPr>
            <p:spPr bwMode="auto">
              <a:xfrm>
                <a:off x="11333428" y="13146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6" name="Group 15"/>
              <p:cNvGrpSpPr/>
              <p:nvPr userDrawn="1"/>
            </p:nvGrpSpPr>
            <p:grpSpPr>
              <a:xfrm>
                <a:off x="11456248" y="1444372"/>
                <a:ext cx="314487" cy="300722"/>
                <a:chOff x="6068819" y="3141238"/>
                <a:chExt cx="546994" cy="523053"/>
              </a:xfrm>
            </p:grpSpPr>
            <p:sp>
              <p:nvSpPr>
                <p:cNvPr id="17" name="Freeform 17"/>
                <p:cNvSpPr>
                  <a:spLocks/>
                </p:cNvSpPr>
                <p:nvPr userDrawn="1"/>
              </p:nvSpPr>
              <p:spPr bwMode="auto">
                <a:xfrm>
                  <a:off x="6068819" y="3408270"/>
                  <a:ext cx="268446" cy="256021"/>
                </a:xfrm>
                <a:custGeom>
                  <a:avLst/>
                  <a:gdLst>
                    <a:gd name="T0" fmla="*/ 0 w 186"/>
                    <a:gd name="T1" fmla="*/ 186 h 186"/>
                    <a:gd name="T2" fmla="*/ 131 w 186"/>
                    <a:gd name="T3" fmla="*/ 186 h 186"/>
                    <a:gd name="T4" fmla="*/ 131 w 186"/>
                    <a:gd name="T5" fmla="*/ 157 h 186"/>
                    <a:gd name="T6" fmla="*/ 51 w 186"/>
                    <a:gd name="T7" fmla="*/ 157 h 186"/>
                    <a:gd name="T8" fmla="*/ 186 w 186"/>
                    <a:gd name="T9" fmla="*/ 22 h 186"/>
                    <a:gd name="T10" fmla="*/ 164 w 186"/>
                    <a:gd name="T11" fmla="*/ 0 h 186"/>
                    <a:gd name="T12" fmla="*/ 29 w 186"/>
                    <a:gd name="T13" fmla="*/ 135 h 186"/>
                    <a:gd name="T14" fmla="*/ 29 w 186"/>
                    <a:gd name="T15" fmla="*/ 54 h 186"/>
                    <a:gd name="T16" fmla="*/ 0 w 186"/>
                    <a:gd name="T17" fmla="*/ 54 h 186"/>
                    <a:gd name="T18" fmla="*/ 0 w 186"/>
                    <a:gd name="T1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0" y="186"/>
                      </a:moveTo>
                      <a:lnTo>
                        <a:pt x="131" y="186"/>
                      </a:lnTo>
                      <a:lnTo>
                        <a:pt x="131" y="157"/>
                      </a:lnTo>
                      <a:lnTo>
                        <a:pt x="51" y="157"/>
                      </a:lnTo>
                      <a:lnTo>
                        <a:pt x="186" y="22"/>
                      </a:lnTo>
                      <a:lnTo>
                        <a:pt x="164" y="0"/>
                      </a:lnTo>
                      <a:lnTo>
                        <a:pt x="29" y="135"/>
                      </a:lnTo>
                      <a:lnTo>
                        <a:pt x="29" y="54"/>
                      </a:lnTo>
                      <a:lnTo>
                        <a:pt x="0" y="54"/>
                      </a:lnTo>
                      <a:lnTo>
                        <a:pt x="0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8" name="Freeform 18"/>
                <p:cNvSpPr>
                  <a:spLocks/>
                </p:cNvSpPr>
                <p:nvPr userDrawn="1"/>
              </p:nvSpPr>
              <p:spPr bwMode="auto">
                <a:xfrm>
                  <a:off x="6347367" y="3141238"/>
                  <a:ext cx="268446" cy="256021"/>
                </a:xfrm>
                <a:custGeom>
                  <a:avLst/>
                  <a:gdLst>
                    <a:gd name="T0" fmla="*/ 55 w 186"/>
                    <a:gd name="T1" fmla="*/ 29 h 186"/>
                    <a:gd name="T2" fmla="*/ 135 w 186"/>
                    <a:gd name="T3" fmla="*/ 29 h 186"/>
                    <a:gd name="T4" fmla="*/ 0 w 186"/>
                    <a:gd name="T5" fmla="*/ 164 h 186"/>
                    <a:gd name="T6" fmla="*/ 22 w 186"/>
                    <a:gd name="T7" fmla="*/ 186 h 186"/>
                    <a:gd name="T8" fmla="*/ 157 w 186"/>
                    <a:gd name="T9" fmla="*/ 51 h 186"/>
                    <a:gd name="T10" fmla="*/ 157 w 186"/>
                    <a:gd name="T11" fmla="*/ 132 h 186"/>
                    <a:gd name="T12" fmla="*/ 186 w 186"/>
                    <a:gd name="T13" fmla="*/ 132 h 186"/>
                    <a:gd name="T14" fmla="*/ 186 w 186"/>
                    <a:gd name="T15" fmla="*/ 0 h 186"/>
                    <a:gd name="T16" fmla="*/ 55 w 186"/>
                    <a:gd name="T17" fmla="*/ 0 h 186"/>
                    <a:gd name="T18" fmla="*/ 55 w 186"/>
                    <a:gd name="T19" fmla="*/ 2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55" y="29"/>
                      </a:moveTo>
                      <a:lnTo>
                        <a:pt x="135" y="29"/>
                      </a:lnTo>
                      <a:lnTo>
                        <a:pt x="0" y="164"/>
                      </a:lnTo>
                      <a:lnTo>
                        <a:pt x="22" y="186"/>
                      </a:lnTo>
                      <a:lnTo>
                        <a:pt x="157" y="51"/>
                      </a:lnTo>
                      <a:lnTo>
                        <a:pt x="157" y="132"/>
                      </a:lnTo>
                      <a:lnTo>
                        <a:pt x="186" y="132"/>
                      </a:lnTo>
                      <a:lnTo>
                        <a:pt x="186" y="0"/>
                      </a:lnTo>
                      <a:lnTo>
                        <a:pt x="55" y="0"/>
                      </a:lnTo>
                      <a:lnTo>
                        <a:pt x="55" y="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9" name="Freeform 19"/>
                <p:cNvSpPr>
                  <a:spLocks/>
                </p:cNvSpPr>
                <p:nvPr userDrawn="1"/>
              </p:nvSpPr>
              <p:spPr bwMode="auto">
                <a:xfrm>
                  <a:off x="6347367" y="3408270"/>
                  <a:ext cx="268446" cy="256021"/>
                </a:xfrm>
                <a:custGeom>
                  <a:avLst/>
                  <a:gdLst>
                    <a:gd name="T0" fmla="*/ 157 w 186"/>
                    <a:gd name="T1" fmla="*/ 135 h 186"/>
                    <a:gd name="T2" fmla="*/ 22 w 186"/>
                    <a:gd name="T3" fmla="*/ 0 h 186"/>
                    <a:gd name="T4" fmla="*/ 0 w 186"/>
                    <a:gd name="T5" fmla="*/ 22 h 186"/>
                    <a:gd name="T6" fmla="*/ 135 w 186"/>
                    <a:gd name="T7" fmla="*/ 157 h 186"/>
                    <a:gd name="T8" fmla="*/ 55 w 186"/>
                    <a:gd name="T9" fmla="*/ 157 h 186"/>
                    <a:gd name="T10" fmla="*/ 55 w 186"/>
                    <a:gd name="T11" fmla="*/ 186 h 186"/>
                    <a:gd name="T12" fmla="*/ 186 w 186"/>
                    <a:gd name="T13" fmla="*/ 186 h 186"/>
                    <a:gd name="T14" fmla="*/ 186 w 186"/>
                    <a:gd name="T15" fmla="*/ 54 h 186"/>
                    <a:gd name="T16" fmla="*/ 157 w 186"/>
                    <a:gd name="T17" fmla="*/ 54 h 186"/>
                    <a:gd name="T18" fmla="*/ 157 w 186"/>
                    <a:gd name="T19" fmla="*/ 13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57" y="135"/>
                      </a:moveTo>
                      <a:lnTo>
                        <a:pt x="22" y="0"/>
                      </a:lnTo>
                      <a:lnTo>
                        <a:pt x="0" y="22"/>
                      </a:lnTo>
                      <a:lnTo>
                        <a:pt x="135" y="157"/>
                      </a:lnTo>
                      <a:lnTo>
                        <a:pt x="55" y="157"/>
                      </a:lnTo>
                      <a:lnTo>
                        <a:pt x="55" y="186"/>
                      </a:lnTo>
                      <a:lnTo>
                        <a:pt x="186" y="186"/>
                      </a:lnTo>
                      <a:lnTo>
                        <a:pt x="186" y="54"/>
                      </a:lnTo>
                      <a:lnTo>
                        <a:pt x="157" y="54"/>
                      </a:lnTo>
                      <a:lnTo>
                        <a:pt x="157" y="1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20" name="Freeform 20"/>
                <p:cNvSpPr>
                  <a:spLocks/>
                </p:cNvSpPr>
                <p:nvPr userDrawn="1"/>
              </p:nvSpPr>
              <p:spPr bwMode="auto">
                <a:xfrm>
                  <a:off x="6068819" y="3141238"/>
                  <a:ext cx="268446" cy="256021"/>
                </a:xfrm>
                <a:custGeom>
                  <a:avLst/>
                  <a:gdLst>
                    <a:gd name="T0" fmla="*/ 131 w 186"/>
                    <a:gd name="T1" fmla="*/ 0 h 186"/>
                    <a:gd name="T2" fmla="*/ 0 w 186"/>
                    <a:gd name="T3" fmla="*/ 0 h 186"/>
                    <a:gd name="T4" fmla="*/ 0 w 186"/>
                    <a:gd name="T5" fmla="*/ 132 h 186"/>
                    <a:gd name="T6" fmla="*/ 29 w 186"/>
                    <a:gd name="T7" fmla="*/ 132 h 186"/>
                    <a:gd name="T8" fmla="*/ 29 w 186"/>
                    <a:gd name="T9" fmla="*/ 51 h 186"/>
                    <a:gd name="T10" fmla="*/ 164 w 186"/>
                    <a:gd name="T11" fmla="*/ 186 h 186"/>
                    <a:gd name="T12" fmla="*/ 186 w 186"/>
                    <a:gd name="T13" fmla="*/ 164 h 186"/>
                    <a:gd name="T14" fmla="*/ 51 w 186"/>
                    <a:gd name="T15" fmla="*/ 29 h 186"/>
                    <a:gd name="T16" fmla="*/ 131 w 186"/>
                    <a:gd name="T17" fmla="*/ 29 h 186"/>
                    <a:gd name="T18" fmla="*/ 131 w 186"/>
                    <a:gd name="T1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6" h="186">
                      <a:moveTo>
                        <a:pt x="131" y="0"/>
                      </a:moveTo>
                      <a:lnTo>
                        <a:pt x="0" y="0"/>
                      </a:lnTo>
                      <a:lnTo>
                        <a:pt x="0" y="132"/>
                      </a:lnTo>
                      <a:lnTo>
                        <a:pt x="29" y="132"/>
                      </a:lnTo>
                      <a:lnTo>
                        <a:pt x="29" y="51"/>
                      </a:lnTo>
                      <a:lnTo>
                        <a:pt x="164" y="186"/>
                      </a:lnTo>
                      <a:lnTo>
                        <a:pt x="186" y="164"/>
                      </a:lnTo>
                      <a:lnTo>
                        <a:pt x="51" y="29"/>
                      </a:lnTo>
                      <a:lnTo>
                        <a:pt x="131" y="29"/>
                      </a:lnTo>
                      <a:lnTo>
                        <a:pt x="1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192"/>
                  <a:endParaRPr lang="en-US" sz="1765" dirty="0">
                    <a:solidFill>
                      <a:srgbClr val="505050"/>
                    </a:solidFill>
                  </a:endParaRPr>
                </a:p>
              </p:txBody>
            </p:sp>
          </p:grpSp>
        </p:grpSp>
      </p:grpSp>
      <p:grpSp>
        <p:nvGrpSpPr>
          <p:cNvPr id="21" name="Group 20"/>
          <p:cNvGrpSpPr/>
          <p:nvPr userDrawn="1"/>
        </p:nvGrpSpPr>
        <p:grpSpPr>
          <a:xfrm>
            <a:off x="10580437" y="2109723"/>
            <a:ext cx="1609522" cy="945903"/>
            <a:chOff x="10792597" y="2205681"/>
            <a:chExt cx="1641796" cy="964733"/>
          </a:xfrm>
        </p:grpSpPr>
        <p:sp>
          <p:nvSpPr>
            <p:cNvPr id="22" name="TextBox 21"/>
            <p:cNvSpPr txBox="1"/>
            <p:nvPr userDrawn="1"/>
          </p:nvSpPr>
          <p:spPr>
            <a:xfrm>
              <a:off x="10792597" y="2764149"/>
              <a:ext cx="1641796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GULATED NETWORKS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OMMUNITIES</a:t>
              </a:r>
            </a:p>
          </p:txBody>
        </p:sp>
        <p:grpSp>
          <p:nvGrpSpPr>
            <p:cNvPr id="23" name="Group 22"/>
            <p:cNvGrpSpPr/>
            <p:nvPr userDrawn="1"/>
          </p:nvGrpSpPr>
          <p:grpSpPr>
            <a:xfrm>
              <a:off x="11333432" y="2205681"/>
              <a:ext cx="560126" cy="560126"/>
              <a:chOff x="11327014" y="2205681"/>
              <a:chExt cx="560126" cy="560126"/>
            </a:xfrm>
          </p:grpSpPr>
          <p:sp>
            <p:nvSpPr>
              <p:cNvPr id="24" name="Oval 23"/>
              <p:cNvSpPr/>
              <p:nvPr/>
            </p:nvSpPr>
            <p:spPr bwMode="auto">
              <a:xfrm>
                <a:off x="11327014" y="2205681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25" name="Group 38"/>
              <p:cNvGrpSpPr>
                <a:grpSpLocks noChangeAspect="1"/>
              </p:cNvGrpSpPr>
              <p:nvPr userDrawn="1"/>
            </p:nvGrpSpPr>
            <p:grpSpPr bwMode="auto">
              <a:xfrm>
                <a:off x="11392569" y="2365608"/>
                <a:ext cx="429017" cy="240273"/>
                <a:chOff x="193" y="3156"/>
                <a:chExt cx="705" cy="414"/>
              </a:xfrm>
              <a:solidFill>
                <a:schemeClr val="bg1"/>
              </a:solidFill>
            </p:grpSpPr>
            <p:sp>
              <p:nvSpPr>
                <p:cNvPr id="26" name="Freeform 39"/>
                <p:cNvSpPr>
                  <a:spLocks/>
                </p:cNvSpPr>
                <p:nvPr/>
              </p:nvSpPr>
              <p:spPr bwMode="auto">
                <a:xfrm>
                  <a:off x="309" y="3156"/>
                  <a:ext cx="448" cy="414"/>
                </a:xfrm>
                <a:custGeom>
                  <a:avLst/>
                  <a:gdLst>
                    <a:gd name="T0" fmla="*/ 127 w 244"/>
                    <a:gd name="T1" fmla="*/ 224 h 224"/>
                    <a:gd name="T2" fmla="*/ 104 w 244"/>
                    <a:gd name="T3" fmla="*/ 218 h 224"/>
                    <a:gd name="T4" fmla="*/ 25 w 244"/>
                    <a:gd name="T5" fmla="*/ 153 h 224"/>
                    <a:gd name="T6" fmla="*/ 3 w 244"/>
                    <a:gd name="T7" fmla="*/ 135 h 224"/>
                    <a:gd name="T8" fmla="*/ 3 w 244"/>
                    <a:gd name="T9" fmla="*/ 124 h 224"/>
                    <a:gd name="T10" fmla="*/ 14 w 244"/>
                    <a:gd name="T11" fmla="*/ 123 h 224"/>
                    <a:gd name="T12" fmla="*/ 36 w 244"/>
                    <a:gd name="T13" fmla="*/ 141 h 224"/>
                    <a:gd name="T14" fmla="*/ 113 w 244"/>
                    <a:gd name="T15" fmla="*/ 204 h 224"/>
                    <a:gd name="T16" fmla="*/ 129 w 244"/>
                    <a:gd name="T17" fmla="*/ 208 h 224"/>
                    <a:gd name="T18" fmla="*/ 135 w 244"/>
                    <a:gd name="T19" fmla="*/ 203 h 224"/>
                    <a:gd name="T20" fmla="*/ 141 w 244"/>
                    <a:gd name="T21" fmla="*/ 198 h 224"/>
                    <a:gd name="T22" fmla="*/ 148 w 244"/>
                    <a:gd name="T23" fmla="*/ 200 h 224"/>
                    <a:gd name="T24" fmla="*/ 165 w 244"/>
                    <a:gd name="T25" fmla="*/ 203 h 224"/>
                    <a:gd name="T26" fmla="*/ 171 w 244"/>
                    <a:gd name="T27" fmla="*/ 197 h 224"/>
                    <a:gd name="T28" fmla="*/ 176 w 244"/>
                    <a:gd name="T29" fmla="*/ 190 h 224"/>
                    <a:gd name="T30" fmla="*/ 184 w 244"/>
                    <a:gd name="T31" fmla="*/ 191 h 224"/>
                    <a:gd name="T32" fmla="*/ 197 w 244"/>
                    <a:gd name="T33" fmla="*/ 191 h 224"/>
                    <a:gd name="T34" fmla="*/ 203 w 244"/>
                    <a:gd name="T35" fmla="*/ 182 h 224"/>
                    <a:gd name="T36" fmla="*/ 206 w 244"/>
                    <a:gd name="T37" fmla="*/ 175 h 224"/>
                    <a:gd name="T38" fmla="*/ 215 w 244"/>
                    <a:gd name="T39" fmla="*/ 175 h 224"/>
                    <a:gd name="T40" fmla="*/ 222 w 244"/>
                    <a:gd name="T41" fmla="*/ 174 h 224"/>
                    <a:gd name="T42" fmla="*/ 224 w 244"/>
                    <a:gd name="T43" fmla="*/ 160 h 224"/>
                    <a:gd name="T44" fmla="*/ 137 w 244"/>
                    <a:gd name="T45" fmla="*/ 74 h 224"/>
                    <a:gd name="T46" fmla="*/ 137 w 244"/>
                    <a:gd name="T47" fmla="*/ 74 h 224"/>
                    <a:gd name="T48" fmla="*/ 121 w 244"/>
                    <a:gd name="T49" fmla="*/ 78 h 224"/>
                    <a:gd name="T50" fmla="*/ 73 w 244"/>
                    <a:gd name="T51" fmla="*/ 101 h 224"/>
                    <a:gd name="T52" fmla="*/ 59 w 244"/>
                    <a:gd name="T53" fmla="*/ 86 h 224"/>
                    <a:gd name="T54" fmla="*/ 79 w 244"/>
                    <a:gd name="T55" fmla="*/ 33 h 224"/>
                    <a:gd name="T56" fmla="*/ 164 w 244"/>
                    <a:gd name="T57" fmla="*/ 16 h 224"/>
                    <a:gd name="T58" fmla="*/ 215 w 244"/>
                    <a:gd name="T59" fmla="*/ 35 h 224"/>
                    <a:gd name="T60" fmla="*/ 220 w 244"/>
                    <a:gd name="T61" fmla="*/ 45 h 224"/>
                    <a:gd name="T62" fmla="*/ 210 w 244"/>
                    <a:gd name="T63" fmla="*/ 51 h 224"/>
                    <a:gd name="T64" fmla="*/ 157 w 244"/>
                    <a:gd name="T65" fmla="*/ 30 h 224"/>
                    <a:gd name="T66" fmla="*/ 90 w 244"/>
                    <a:gd name="T67" fmla="*/ 45 h 224"/>
                    <a:gd name="T68" fmla="*/ 75 w 244"/>
                    <a:gd name="T69" fmla="*/ 82 h 224"/>
                    <a:gd name="T70" fmla="*/ 78 w 244"/>
                    <a:gd name="T71" fmla="*/ 86 h 224"/>
                    <a:gd name="T72" fmla="*/ 110 w 244"/>
                    <a:gd name="T73" fmla="*/ 66 h 224"/>
                    <a:gd name="T74" fmla="*/ 115 w 244"/>
                    <a:gd name="T75" fmla="*/ 62 h 224"/>
                    <a:gd name="T76" fmla="*/ 118 w 244"/>
                    <a:gd name="T77" fmla="*/ 62 h 224"/>
                    <a:gd name="T78" fmla="*/ 131 w 244"/>
                    <a:gd name="T79" fmla="*/ 59 h 224"/>
                    <a:gd name="T80" fmla="*/ 135 w 244"/>
                    <a:gd name="T81" fmla="*/ 58 h 224"/>
                    <a:gd name="T82" fmla="*/ 142 w 244"/>
                    <a:gd name="T83" fmla="*/ 58 h 224"/>
                    <a:gd name="T84" fmla="*/ 239 w 244"/>
                    <a:gd name="T85" fmla="*/ 153 h 224"/>
                    <a:gd name="T86" fmla="*/ 233 w 244"/>
                    <a:gd name="T87" fmla="*/ 186 h 224"/>
                    <a:gd name="T88" fmla="*/ 217 w 244"/>
                    <a:gd name="T89" fmla="*/ 192 h 224"/>
                    <a:gd name="T90" fmla="*/ 204 w 244"/>
                    <a:gd name="T91" fmla="*/ 206 h 224"/>
                    <a:gd name="T92" fmla="*/ 183 w 244"/>
                    <a:gd name="T93" fmla="*/ 208 h 224"/>
                    <a:gd name="T94" fmla="*/ 171 w 244"/>
                    <a:gd name="T95" fmla="*/ 218 h 224"/>
                    <a:gd name="T96" fmla="*/ 145 w 244"/>
                    <a:gd name="T97" fmla="*/ 217 h 224"/>
                    <a:gd name="T98" fmla="*/ 131 w 244"/>
                    <a:gd name="T99" fmla="*/ 224 h 224"/>
                    <a:gd name="T100" fmla="*/ 127 w 244"/>
                    <a:gd name="T101" fmla="*/ 22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44" h="224">
                      <a:moveTo>
                        <a:pt x="127" y="224"/>
                      </a:moveTo>
                      <a:cubicBezTo>
                        <a:pt x="117" y="224"/>
                        <a:pt x="109" y="221"/>
                        <a:pt x="104" y="218"/>
                      </a:cubicBezTo>
                      <a:cubicBezTo>
                        <a:pt x="95" y="212"/>
                        <a:pt x="32" y="159"/>
                        <a:pt x="25" y="153"/>
                      </a:cubicBezTo>
                      <a:cubicBezTo>
                        <a:pt x="3" y="135"/>
                        <a:pt x="3" y="135"/>
                        <a:pt x="3" y="135"/>
                      </a:cubicBezTo>
                      <a:cubicBezTo>
                        <a:pt x="0" y="132"/>
                        <a:pt x="0" y="127"/>
                        <a:pt x="3" y="124"/>
                      </a:cubicBezTo>
                      <a:cubicBezTo>
                        <a:pt x="5" y="121"/>
                        <a:pt x="10" y="120"/>
                        <a:pt x="14" y="123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70" y="170"/>
                        <a:pt x="107" y="201"/>
                        <a:pt x="113" y="204"/>
                      </a:cubicBezTo>
                      <a:cubicBezTo>
                        <a:pt x="116" y="207"/>
                        <a:pt x="123" y="209"/>
                        <a:pt x="129" y="208"/>
                      </a:cubicBezTo>
                      <a:cubicBezTo>
                        <a:pt x="133" y="208"/>
                        <a:pt x="135" y="205"/>
                        <a:pt x="135" y="203"/>
                      </a:cubicBezTo>
                      <a:cubicBezTo>
                        <a:pt x="136" y="201"/>
                        <a:pt x="138" y="199"/>
                        <a:pt x="141" y="198"/>
                      </a:cubicBezTo>
                      <a:cubicBezTo>
                        <a:pt x="144" y="198"/>
                        <a:pt x="146" y="199"/>
                        <a:pt x="148" y="200"/>
                      </a:cubicBezTo>
                      <a:cubicBezTo>
                        <a:pt x="153" y="205"/>
                        <a:pt x="160" y="205"/>
                        <a:pt x="165" y="203"/>
                      </a:cubicBezTo>
                      <a:cubicBezTo>
                        <a:pt x="168" y="202"/>
                        <a:pt x="171" y="200"/>
                        <a:pt x="171" y="197"/>
                      </a:cubicBezTo>
                      <a:cubicBezTo>
                        <a:pt x="171" y="193"/>
                        <a:pt x="173" y="191"/>
                        <a:pt x="176" y="190"/>
                      </a:cubicBezTo>
                      <a:cubicBezTo>
                        <a:pt x="179" y="189"/>
                        <a:pt x="182" y="189"/>
                        <a:pt x="184" y="191"/>
                      </a:cubicBezTo>
                      <a:cubicBezTo>
                        <a:pt x="187" y="194"/>
                        <a:pt x="192" y="193"/>
                        <a:pt x="197" y="191"/>
                      </a:cubicBezTo>
                      <a:cubicBezTo>
                        <a:pt x="199" y="190"/>
                        <a:pt x="203" y="187"/>
                        <a:pt x="203" y="182"/>
                      </a:cubicBezTo>
                      <a:cubicBezTo>
                        <a:pt x="202" y="179"/>
                        <a:pt x="204" y="176"/>
                        <a:pt x="206" y="175"/>
                      </a:cubicBezTo>
                      <a:cubicBezTo>
                        <a:pt x="209" y="173"/>
                        <a:pt x="212" y="173"/>
                        <a:pt x="215" y="175"/>
                      </a:cubicBezTo>
                      <a:cubicBezTo>
                        <a:pt x="217" y="176"/>
                        <a:pt x="220" y="175"/>
                        <a:pt x="222" y="174"/>
                      </a:cubicBezTo>
                      <a:cubicBezTo>
                        <a:pt x="225" y="171"/>
                        <a:pt x="227" y="166"/>
                        <a:pt x="224" y="160"/>
                      </a:cubicBezTo>
                      <a:cubicBezTo>
                        <a:pt x="215" y="141"/>
                        <a:pt x="167" y="95"/>
                        <a:pt x="137" y="74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28" y="77"/>
                        <a:pt x="127" y="77"/>
                        <a:pt x="121" y="78"/>
                      </a:cubicBezTo>
                      <a:cubicBezTo>
                        <a:pt x="113" y="90"/>
                        <a:pt x="97" y="109"/>
                        <a:pt x="73" y="101"/>
                      </a:cubicBezTo>
                      <a:cubicBezTo>
                        <a:pt x="66" y="99"/>
                        <a:pt x="61" y="93"/>
                        <a:pt x="59" y="86"/>
                      </a:cubicBezTo>
                      <a:cubicBezTo>
                        <a:pt x="55" y="68"/>
                        <a:pt x="68" y="44"/>
                        <a:pt x="79" y="33"/>
                      </a:cubicBezTo>
                      <a:cubicBezTo>
                        <a:pt x="97" y="16"/>
                        <a:pt x="130" y="0"/>
                        <a:pt x="164" y="16"/>
                      </a:cubicBezTo>
                      <a:cubicBezTo>
                        <a:pt x="195" y="30"/>
                        <a:pt x="214" y="35"/>
                        <a:pt x="215" y="35"/>
                      </a:cubicBezTo>
                      <a:cubicBezTo>
                        <a:pt x="219" y="37"/>
                        <a:pt x="221" y="41"/>
                        <a:pt x="220" y="45"/>
                      </a:cubicBezTo>
                      <a:cubicBezTo>
                        <a:pt x="219" y="50"/>
                        <a:pt x="214" y="52"/>
                        <a:pt x="210" y="51"/>
                      </a:cubicBezTo>
                      <a:cubicBezTo>
                        <a:pt x="209" y="50"/>
                        <a:pt x="189" y="45"/>
                        <a:pt x="157" y="30"/>
                      </a:cubicBezTo>
                      <a:cubicBezTo>
                        <a:pt x="131" y="18"/>
                        <a:pt x="105" y="31"/>
                        <a:pt x="90" y="45"/>
                      </a:cubicBezTo>
                      <a:cubicBezTo>
                        <a:pt x="81" y="53"/>
                        <a:pt x="72" y="72"/>
                        <a:pt x="75" y="82"/>
                      </a:cubicBezTo>
                      <a:cubicBezTo>
                        <a:pt x="75" y="84"/>
                        <a:pt x="76" y="86"/>
                        <a:pt x="78" y="86"/>
                      </a:cubicBezTo>
                      <a:cubicBezTo>
                        <a:pt x="90" y="90"/>
                        <a:pt x="99" y="81"/>
                        <a:pt x="110" y="66"/>
                      </a:cubicBezTo>
                      <a:cubicBezTo>
                        <a:pt x="111" y="64"/>
                        <a:pt x="113" y="63"/>
                        <a:pt x="115" y="62"/>
                      </a:cubicBezTo>
                      <a:cubicBezTo>
                        <a:pt x="118" y="62"/>
                        <a:pt x="118" y="62"/>
                        <a:pt x="118" y="62"/>
                      </a:cubicBezTo>
                      <a:cubicBezTo>
                        <a:pt x="124" y="62"/>
                        <a:pt x="124" y="62"/>
                        <a:pt x="131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8" y="57"/>
                        <a:pt x="140" y="57"/>
                        <a:pt x="142" y="58"/>
                      </a:cubicBezTo>
                      <a:cubicBezTo>
                        <a:pt x="171" y="78"/>
                        <a:pt x="227" y="129"/>
                        <a:pt x="239" y="153"/>
                      </a:cubicBezTo>
                      <a:cubicBezTo>
                        <a:pt x="244" y="165"/>
                        <a:pt x="242" y="178"/>
                        <a:pt x="233" y="186"/>
                      </a:cubicBezTo>
                      <a:cubicBezTo>
                        <a:pt x="228" y="190"/>
                        <a:pt x="222" y="192"/>
                        <a:pt x="217" y="192"/>
                      </a:cubicBezTo>
                      <a:cubicBezTo>
                        <a:pt x="215" y="197"/>
                        <a:pt x="210" y="202"/>
                        <a:pt x="204" y="206"/>
                      </a:cubicBezTo>
                      <a:cubicBezTo>
                        <a:pt x="197" y="209"/>
                        <a:pt x="190" y="210"/>
                        <a:pt x="183" y="208"/>
                      </a:cubicBezTo>
                      <a:cubicBezTo>
                        <a:pt x="181" y="213"/>
                        <a:pt x="176" y="216"/>
                        <a:pt x="171" y="218"/>
                      </a:cubicBezTo>
                      <a:cubicBezTo>
                        <a:pt x="163" y="221"/>
                        <a:pt x="153" y="221"/>
                        <a:pt x="145" y="217"/>
                      </a:cubicBezTo>
                      <a:cubicBezTo>
                        <a:pt x="142" y="221"/>
                        <a:pt x="137" y="223"/>
                        <a:pt x="131" y="224"/>
                      </a:cubicBezTo>
                      <a:cubicBezTo>
                        <a:pt x="129" y="224"/>
                        <a:pt x="128" y="224"/>
                        <a:pt x="127" y="2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27" name="Freeform 40"/>
                <p:cNvSpPr>
                  <a:spLocks/>
                </p:cNvSpPr>
                <p:nvPr/>
              </p:nvSpPr>
              <p:spPr bwMode="auto">
                <a:xfrm>
                  <a:off x="351" y="3186"/>
                  <a:ext cx="158" cy="35"/>
                </a:xfrm>
                <a:custGeom>
                  <a:avLst/>
                  <a:gdLst>
                    <a:gd name="T0" fmla="*/ 78 w 86"/>
                    <a:gd name="T1" fmla="*/ 19 h 19"/>
                    <a:gd name="T2" fmla="*/ 77 w 86"/>
                    <a:gd name="T3" fmla="*/ 19 h 19"/>
                    <a:gd name="T4" fmla="*/ 9 w 86"/>
                    <a:gd name="T5" fmla="*/ 16 h 19"/>
                    <a:gd name="T6" fmla="*/ 1 w 86"/>
                    <a:gd name="T7" fmla="*/ 9 h 19"/>
                    <a:gd name="T8" fmla="*/ 8 w 86"/>
                    <a:gd name="T9" fmla="*/ 0 h 19"/>
                    <a:gd name="T10" fmla="*/ 79 w 86"/>
                    <a:gd name="T11" fmla="*/ 3 h 19"/>
                    <a:gd name="T12" fmla="*/ 86 w 86"/>
                    <a:gd name="T13" fmla="*/ 12 h 19"/>
                    <a:gd name="T14" fmla="*/ 78 w 86"/>
                    <a:gd name="T1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6" h="19">
                      <a:moveTo>
                        <a:pt x="78" y="19"/>
                      </a:moveTo>
                      <a:cubicBezTo>
                        <a:pt x="78" y="19"/>
                        <a:pt x="77" y="19"/>
                        <a:pt x="77" y="19"/>
                      </a:cubicBezTo>
                      <a:cubicBezTo>
                        <a:pt x="61" y="17"/>
                        <a:pt x="21" y="16"/>
                        <a:pt x="9" y="16"/>
                      </a:cubicBezTo>
                      <a:cubicBezTo>
                        <a:pt x="5" y="17"/>
                        <a:pt x="1" y="13"/>
                        <a:pt x="1" y="9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2" y="0"/>
                        <a:pt x="61" y="1"/>
                        <a:pt x="79" y="3"/>
                      </a:cubicBezTo>
                      <a:cubicBezTo>
                        <a:pt x="83" y="3"/>
                        <a:pt x="86" y="7"/>
                        <a:pt x="86" y="12"/>
                      </a:cubicBezTo>
                      <a:cubicBezTo>
                        <a:pt x="85" y="16"/>
                        <a:pt x="82" y="19"/>
                        <a:pt x="78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28" name="Freeform 41"/>
                <p:cNvSpPr>
                  <a:spLocks/>
                </p:cNvSpPr>
                <p:nvPr/>
              </p:nvSpPr>
              <p:spPr bwMode="auto">
                <a:xfrm>
                  <a:off x="722" y="3400"/>
                  <a:ext cx="62" cy="54"/>
                </a:xfrm>
                <a:custGeom>
                  <a:avLst/>
                  <a:gdLst>
                    <a:gd name="T0" fmla="*/ 9 w 34"/>
                    <a:gd name="T1" fmla="*/ 29 h 29"/>
                    <a:gd name="T2" fmla="*/ 2 w 34"/>
                    <a:gd name="T3" fmla="*/ 26 h 29"/>
                    <a:gd name="T4" fmla="*/ 4 w 34"/>
                    <a:gd name="T5" fmla="*/ 15 h 29"/>
                    <a:gd name="T6" fmla="*/ 20 w 34"/>
                    <a:gd name="T7" fmla="*/ 3 h 29"/>
                    <a:gd name="T8" fmla="*/ 31 w 34"/>
                    <a:gd name="T9" fmla="*/ 5 h 29"/>
                    <a:gd name="T10" fmla="*/ 29 w 34"/>
                    <a:gd name="T11" fmla="*/ 16 h 29"/>
                    <a:gd name="T12" fmla="*/ 14 w 34"/>
                    <a:gd name="T13" fmla="*/ 28 h 29"/>
                    <a:gd name="T14" fmla="*/ 9 w 34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9">
                      <a:moveTo>
                        <a:pt x="9" y="29"/>
                      </a:moveTo>
                      <a:cubicBezTo>
                        <a:pt x="6" y="29"/>
                        <a:pt x="4" y="28"/>
                        <a:pt x="2" y="26"/>
                      </a:cubicBezTo>
                      <a:cubicBezTo>
                        <a:pt x="0" y="23"/>
                        <a:pt x="0" y="18"/>
                        <a:pt x="4" y="15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3" y="0"/>
                        <a:pt x="28" y="1"/>
                        <a:pt x="31" y="5"/>
                      </a:cubicBezTo>
                      <a:cubicBezTo>
                        <a:pt x="34" y="8"/>
                        <a:pt x="33" y="13"/>
                        <a:pt x="29" y="16"/>
                      </a:cubicBezTo>
                      <a:cubicBezTo>
                        <a:pt x="14" y="28"/>
                        <a:pt x="14" y="28"/>
                        <a:pt x="14" y="28"/>
                      </a:cubicBezTo>
                      <a:cubicBezTo>
                        <a:pt x="12" y="29"/>
                        <a:pt x="10" y="29"/>
                        <a:pt x="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29" name="Freeform 42"/>
                <p:cNvSpPr>
                  <a:spLocks/>
                </p:cNvSpPr>
                <p:nvPr/>
              </p:nvSpPr>
              <p:spPr bwMode="auto">
                <a:xfrm>
                  <a:off x="580" y="3385"/>
                  <a:ext cx="131" cy="120"/>
                </a:xfrm>
                <a:custGeom>
                  <a:avLst/>
                  <a:gdLst>
                    <a:gd name="T0" fmla="*/ 62 w 71"/>
                    <a:gd name="T1" fmla="*/ 65 h 65"/>
                    <a:gd name="T2" fmla="*/ 58 w 71"/>
                    <a:gd name="T3" fmla="*/ 64 h 65"/>
                    <a:gd name="T4" fmla="*/ 3 w 71"/>
                    <a:gd name="T5" fmla="*/ 14 h 65"/>
                    <a:gd name="T6" fmla="*/ 3 w 71"/>
                    <a:gd name="T7" fmla="*/ 3 h 65"/>
                    <a:gd name="T8" fmla="*/ 14 w 71"/>
                    <a:gd name="T9" fmla="*/ 3 h 65"/>
                    <a:gd name="T10" fmla="*/ 67 w 71"/>
                    <a:gd name="T11" fmla="*/ 51 h 65"/>
                    <a:gd name="T12" fmla="*/ 69 w 71"/>
                    <a:gd name="T13" fmla="*/ 62 h 65"/>
                    <a:gd name="T14" fmla="*/ 62 w 71"/>
                    <a:gd name="T1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65">
                      <a:moveTo>
                        <a:pt x="62" y="65"/>
                      </a:moveTo>
                      <a:cubicBezTo>
                        <a:pt x="61" y="65"/>
                        <a:pt x="59" y="65"/>
                        <a:pt x="58" y="64"/>
                      </a:cubicBezTo>
                      <a:cubicBezTo>
                        <a:pt x="49" y="57"/>
                        <a:pt x="5" y="16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6" y="0"/>
                        <a:pt x="11" y="0"/>
                        <a:pt x="14" y="3"/>
                      </a:cubicBezTo>
                      <a:cubicBezTo>
                        <a:pt x="27" y="14"/>
                        <a:pt x="61" y="46"/>
                        <a:pt x="67" y="51"/>
                      </a:cubicBezTo>
                      <a:cubicBezTo>
                        <a:pt x="71" y="54"/>
                        <a:pt x="71" y="59"/>
                        <a:pt x="69" y="62"/>
                      </a:cubicBezTo>
                      <a:cubicBezTo>
                        <a:pt x="67" y="64"/>
                        <a:pt x="65" y="65"/>
                        <a:pt x="62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0" name="Freeform 43"/>
                <p:cNvSpPr>
                  <a:spLocks/>
                </p:cNvSpPr>
                <p:nvPr/>
              </p:nvSpPr>
              <p:spPr bwMode="auto">
                <a:xfrm>
                  <a:off x="538" y="3430"/>
                  <a:ext cx="116" cy="105"/>
                </a:xfrm>
                <a:custGeom>
                  <a:avLst/>
                  <a:gdLst>
                    <a:gd name="T0" fmla="*/ 54 w 63"/>
                    <a:gd name="T1" fmla="*/ 57 h 57"/>
                    <a:gd name="T2" fmla="*/ 49 w 63"/>
                    <a:gd name="T3" fmla="*/ 56 h 57"/>
                    <a:gd name="T4" fmla="*/ 3 w 63"/>
                    <a:gd name="T5" fmla="*/ 14 h 57"/>
                    <a:gd name="T6" fmla="*/ 3 w 63"/>
                    <a:gd name="T7" fmla="*/ 3 h 57"/>
                    <a:gd name="T8" fmla="*/ 15 w 63"/>
                    <a:gd name="T9" fmla="*/ 3 h 57"/>
                    <a:gd name="T10" fmla="*/ 59 w 63"/>
                    <a:gd name="T11" fmla="*/ 43 h 57"/>
                    <a:gd name="T12" fmla="*/ 60 w 63"/>
                    <a:gd name="T13" fmla="*/ 54 h 57"/>
                    <a:gd name="T14" fmla="*/ 54 w 63"/>
                    <a:gd name="T15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57">
                      <a:moveTo>
                        <a:pt x="54" y="57"/>
                      </a:moveTo>
                      <a:cubicBezTo>
                        <a:pt x="52" y="57"/>
                        <a:pt x="50" y="57"/>
                        <a:pt x="49" y="56"/>
                      </a:cubicBezTo>
                      <a:cubicBezTo>
                        <a:pt x="38" y="47"/>
                        <a:pt x="8" y="19"/>
                        <a:pt x="3" y="14"/>
                      </a:cubicBezTo>
                      <a:cubicBezTo>
                        <a:pt x="0" y="11"/>
                        <a:pt x="0" y="6"/>
                        <a:pt x="3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18" y="8"/>
                        <a:pt x="48" y="35"/>
                        <a:pt x="59" y="43"/>
                      </a:cubicBezTo>
                      <a:cubicBezTo>
                        <a:pt x="62" y="46"/>
                        <a:pt x="63" y="51"/>
                        <a:pt x="60" y="54"/>
                      </a:cubicBezTo>
                      <a:cubicBezTo>
                        <a:pt x="59" y="56"/>
                        <a:pt x="56" y="57"/>
                        <a:pt x="54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1" name="Freeform 44"/>
                <p:cNvSpPr>
                  <a:spLocks/>
                </p:cNvSpPr>
                <p:nvPr/>
              </p:nvSpPr>
              <p:spPr bwMode="auto">
                <a:xfrm>
                  <a:off x="492" y="3461"/>
                  <a:ext cx="96" cy="91"/>
                </a:xfrm>
                <a:custGeom>
                  <a:avLst/>
                  <a:gdLst>
                    <a:gd name="T0" fmla="*/ 43 w 52"/>
                    <a:gd name="T1" fmla="*/ 49 h 49"/>
                    <a:gd name="T2" fmla="*/ 38 w 52"/>
                    <a:gd name="T3" fmla="*/ 47 h 49"/>
                    <a:gd name="T4" fmla="*/ 3 w 52"/>
                    <a:gd name="T5" fmla="*/ 14 h 49"/>
                    <a:gd name="T6" fmla="*/ 4 w 52"/>
                    <a:gd name="T7" fmla="*/ 3 h 49"/>
                    <a:gd name="T8" fmla="*/ 15 w 52"/>
                    <a:gd name="T9" fmla="*/ 3 h 49"/>
                    <a:gd name="T10" fmla="*/ 48 w 52"/>
                    <a:gd name="T11" fmla="*/ 35 h 49"/>
                    <a:gd name="T12" fmla="*/ 49 w 52"/>
                    <a:gd name="T13" fmla="*/ 46 h 49"/>
                    <a:gd name="T14" fmla="*/ 43 w 52"/>
                    <a:gd name="T15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49">
                      <a:moveTo>
                        <a:pt x="43" y="49"/>
                      </a:moveTo>
                      <a:cubicBezTo>
                        <a:pt x="41" y="49"/>
                        <a:pt x="39" y="49"/>
                        <a:pt x="38" y="47"/>
                      </a:cubicBezTo>
                      <a:cubicBezTo>
                        <a:pt x="27" y="39"/>
                        <a:pt x="13" y="24"/>
                        <a:pt x="3" y="14"/>
                      </a:cubicBezTo>
                      <a:cubicBezTo>
                        <a:pt x="0" y="11"/>
                        <a:pt x="1" y="6"/>
                        <a:pt x="4" y="3"/>
                      </a:cubicBezTo>
                      <a:cubicBezTo>
                        <a:pt x="7" y="0"/>
                        <a:pt x="12" y="0"/>
                        <a:pt x="15" y="3"/>
                      </a:cubicBezTo>
                      <a:cubicBezTo>
                        <a:pt x="24" y="13"/>
                        <a:pt x="38" y="27"/>
                        <a:pt x="48" y="35"/>
                      </a:cubicBezTo>
                      <a:cubicBezTo>
                        <a:pt x="51" y="38"/>
                        <a:pt x="52" y="43"/>
                        <a:pt x="49" y="46"/>
                      </a:cubicBezTo>
                      <a:cubicBezTo>
                        <a:pt x="47" y="48"/>
                        <a:pt x="45" y="49"/>
                        <a:pt x="43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2" name="Freeform 45"/>
                <p:cNvSpPr>
                  <a:spLocks noEditPoints="1"/>
                </p:cNvSpPr>
                <p:nvPr/>
              </p:nvSpPr>
              <p:spPr bwMode="auto">
                <a:xfrm>
                  <a:off x="193" y="3158"/>
                  <a:ext cx="189" cy="299"/>
                </a:xfrm>
                <a:custGeom>
                  <a:avLst/>
                  <a:gdLst>
                    <a:gd name="T0" fmla="*/ 29 w 103"/>
                    <a:gd name="T1" fmla="*/ 162 h 162"/>
                    <a:gd name="T2" fmla="*/ 6 w 103"/>
                    <a:gd name="T3" fmla="*/ 160 h 162"/>
                    <a:gd name="T4" fmla="*/ 0 w 103"/>
                    <a:gd name="T5" fmla="*/ 152 h 162"/>
                    <a:gd name="T6" fmla="*/ 16 w 103"/>
                    <a:gd name="T7" fmla="*/ 7 h 162"/>
                    <a:gd name="T8" fmla="*/ 26 w 103"/>
                    <a:gd name="T9" fmla="*/ 1 h 162"/>
                    <a:gd name="T10" fmla="*/ 97 w 103"/>
                    <a:gd name="T11" fmla="*/ 16 h 162"/>
                    <a:gd name="T12" fmla="*/ 103 w 103"/>
                    <a:gd name="T13" fmla="*/ 24 h 162"/>
                    <a:gd name="T14" fmla="*/ 69 w 103"/>
                    <a:gd name="T15" fmla="*/ 155 h 162"/>
                    <a:gd name="T16" fmla="*/ 62 w 103"/>
                    <a:gd name="T17" fmla="*/ 160 h 162"/>
                    <a:gd name="T18" fmla="*/ 29 w 103"/>
                    <a:gd name="T19" fmla="*/ 162 h 162"/>
                    <a:gd name="T20" fmla="*/ 16 w 103"/>
                    <a:gd name="T21" fmla="*/ 145 h 162"/>
                    <a:gd name="T22" fmla="*/ 56 w 103"/>
                    <a:gd name="T23" fmla="*/ 145 h 162"/>
                    <a:gd name="T24" fmla="*/ 86 w 103"/>
                    <a:gd name="T25" fmla="*/ 29 h 162"/>
                    <a:gd name="T26" fmla="*/ 31 w 103"/>
                    <a:gd name="T27" fmla="*/ 18 h 162"/>
                    <a:gd name="T28" fmla="*/ 16 w 103"/>
                    <a:gd name="T29" fmla="*/ 145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" h="162">
                      <a:moveTo>
                        <a:pt x="29" y="162"/>
                      </a:moveTo>
                      <a:cubicBezTo>
                        <a:pt x="19" y="162"/>
                        <a:pt x="11" y="161"/>
                        <a:pt x="6" y="160"/>
                      </a:cubicBezTo>
                      <a:cubicBezTo>
                        <a:pt x="3" y="159"/>
                        <a:pt x="0" y="156"/>
                        <a:pt x="0" y="152"/>
                      </a:cubicBezTo>
                      <a:cubicBezTo>
                        <a:pt x="1" y="94"/>
                        <a:pt x="16" y="11"/>
                        <a:pt x="16" y="7"/>
                      </a:cubicBezTo>
                      <a:cubicBezTo>
                        <a:pt x="17" y="3"/>
                        <a:pt x="21" y="0"/>
                        <a:pt x="26" y="1"/>
                      </a:cubicBezTo>
                      <a:cubicBezTo>
                        <a:pt x="28" y="1"/>
                        <a:pt x="77" y="9"/>
                        <a:pt x="97" y="16"/>
                      </a:cubicBezTo>
                      <a:cubicBezTo>
                        <a:pt x="101" y="17"/>
                        <a:pt x="103" y="20"/>
                        <a:pt x="103" y="24"/>
                      </a:cubicBezTo>
                      <a:cubicBezTo>
                        <a:pt x="99" y="66"/>
                        <a:pt x="70" y="151"/>
                        <a:pt x="69" y="155"/>
                      </a:cubicBezTo>
                      <a:cubicBezTo>
                        <a:pt x="68" y="158"/>
                        <a:pt x="66" y="160"/>
                        <a:pt x="62" y="160"/>
                      </a:cubicBezTo>
                      <a:cubicBezTo>
                        <a:pt x="62" y="160"/>
                        <a:pt x="45" y="162"/>
                        <a:pt x="29" y="162"/>
                      </a:cubicBezTo>
                      <a:close/>
                      <a:moveTo>
                        <a:pt x="16" y="145"/>
                      </a:moveTo>
                      <a:cubicBezTo>
                        <a:pt x="25" y="146"/>
                        <a:pt x="46" y="145"/>
                        <a:pt x="56" y="145"/>
                      </a:cubicBezTo>
                      <a:cubicBezTo>
                        <a:pt x="62" y="127"/>
                        <a:pt x="81" y="65"/>
                        <a:pt x="86" y="29"/>
                      </a:cubicBezTo>
                      <a:cubicBezTo>
                        <a:pt x="70" y="25"/>
                        <a:pt x="44" y="20"/>
                        <a:pt x="31" y="18"/>
                      </a:cubicBezTo>
                      <a:cubicBezTo>
                        <a:pt x="27" y="39"/>
                        <a:pt x="18" y="99"/>
                        <a:pt x="16" y="1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3" name="Freeform 46"/>
                <p:cNvSpPr>
                  <a:spLocks noEditPoints="1"/>
                </p:cNvSpPr>
                <p:nvPr/>
              </p:nvSpPr>
              <p:spPr bwMode="auto">
                <a:xfrm>
                  <a:off x="689" y="3201"/>
                  <a:ext cx="209" cy="249"/>
                </a:xfrm>
                <a:custGeom>
                  <a:avLst/>
                  <a:gdLst>
                    <a:gd name="T0" fmla="*/ 80 w 114"/>
                    <a:gd name="T1" fmla="*/ 135 h 135"/>
                    <a:gd name="T2" fmla="*/ 45 w 114"/>
                    <a:gd name="T3" fmla="*/ 131 h 135"/>
                    <a:gd name="T4" fmla="*/ 40 w 114"/>
                    <a:gd name="T5" fmla="*/ 125 h 135"/>
                    <a:gd name="T6" fmla="*/ 2 w 114"/>
                    <a:gd name="T7" fmla="*/ 24 h 135"/>
                    <a:gd name="T8" fmla="*/ 1 w 114"/>
                    <a:gd name="T9" fmla="*/ 17 h 135"/>
                    <a:gd name="T10" fmla="*/ 5 w 114"/>
                    <a:gd name="T11" fmla="*/ 13 h 135"/>
                    <a:gd name="T12" fmla="*/ 63 w 114"/>
                    <a:gd name="T13" fmla="*/ 0 h 135"/>
                    <a:gd name="T14" fmla="*/ 80 w 114"/>
                    <a:gd name="T15" fmla="*/ 2 h 135"/>
                    <a:gd name="T16" fmla="*/ 85 w 114"/>
                    <a:gd name="T17" fmla="*/ 5 h 135"/>
                    <a:gd name="T18" fmla="*/ 114 w 114"/>
                    <a:gd name="T19" fmla="*/ 125 h 135"/>
                    <a:gd name="T20" fmla="*/ 112 w 114"/>
                    <a:gd name="T21" fmla="*/ 131 h 135"/>
                    <a:gd name="T22" fmla="*/ 106 w 114"/>
                    <a:gd name="T23" fmla="*/ 134 h 135"/>
                    <a:gd name="T24" fmla="*/ 80 w 114"/>
                    <a:gd name="T25" fmla="*/ 135 h 135"/>
                    <a:gd name="T26" fmla="*/ 54 w 114"/>
                    <a:gd name="T27" fmla="*/ 117 h 135"/>
                    <a:gd name="T28" fmla="*/ 80 w 114"/>
                    <a:gd name="T29" fmla="*/ 119 h 135"/>
                    <a:gd name="T30" fmla="*/ 97 w 114"/>
                    <a:gd name="T31" fmla="*/ 118 h 135"/>
                    <a:gd name="T32" fmla="*/ 74 w 114"/>
                    <a:gd name="T33" fmla="*/ 17 h 135"/>
                    <a:gd name="T34" fmla="*/ 63 w 114"/>
                    <a:gd name="T35" fmla="*/ 16 h 135"/>
                    <a:gd name="T36" fmla="*/ 20 w 114"/>
                    <a:gd name="T37" fmla="*/ 24 h 135"/>
                    <a:gd name="T38" fmla="*/ 54 w 114"/>
                    <a:gd name="T39" fmla="*/ 117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5">
                      <a:moveTo>
                        <a:pt x="80" y="135"/>
                      </a:moveTo>
                      <a:cubicBezTo>
                        <a:pt x="63" y="135"/>
                        <a:pt x="51" y="133"/>
                        <a:pt x="45" y="131"/>
                      </a:cubicBezTo>
                      <a:cubicBezTo>
                        <a:pt x="42" y="130"/>
                        <a:pt x="41" y="128"/>
                        <a:pt x="40" y="125"/>
                      </a:cubicBezTo>
                      <a:cubicBezTo>
                        <a:pt x="34" y="103"/>
                        <a:pt x="11" y="40"/>
                        <a:pt x="2" y="24"/>
                      </a:cubicBezTo>
                      <a:cubicBezTo>
                        <a:pt x="0" y="22"/>
                        <a:pt x="0" y="20"/>
                        <a:pt x="1" y="17"/>
                      </a:cubicBezTo>
                      <a:cubicBezTo>
                        <a:pt x="1" y="15"/>
                        <a:pt x="3" y="13"/>
                        <a:pt x="5" y="13"/>
                      </a:cubicBezTo>
                      <a:cubicBezTo>
                        <a:pt x="6" y="12"/>
                        <a:pt x="34" y="0"/>
                        <a:pt x="63" y="0"/>
                      </a:cubicBezTo>
                      <a:cubicBezTo>
                        <a:pt x="69" y="0"/>
                        <a:pt x="75" y="0"/>
                        <a:pt x="80" y="2"/>
                      </a:cubicBezTo>
                      <a:cubicBezTo>
                        <a:pt x="82" y="2"/>
                        <a:pt x="84" y="3"/>
                        <a:pt x="85" y="5"/>
                      </a:cubicBezTo>
                      <a:cubicBezTo>
                        <a:pt x="105" y="32"/>
                        <a:pt x="113" y="116"/>
                        <a:pt x="114" y="125"/>
                      </a:cubicBezTo>
                      <a:cubicBezTo>
                        <a:pt x="114" y="127"/>
                        <a:pt x="113" y="129"/>
                        <a:pt x="112" y="131"/>
                      </a:cubicBezTo>
                      <a:cubicBezTo>
                        <a:pt x="110" y="133"/>
                        <a:pt x="108" y="134"/>
                        <a:pt x="106" y="134"/>
                      </a:cubicBezTo>
                      <a:cubicBezTo>
                        <a:pt x="106" y="134"/>
                        <a:pt x="94" y="135"/>
                        <a:pt x="80" y="135"/>
                      </a:cubicBezTo>
                      <a:close/>
                      <a:moveTo>
                        <a:pt x="54" y="117"/>
                      </a:moveTo>
                      <a:cubicBezTo>
                        <a:pt x="58" y="118"/>
                        <a:pt x="66" y="119"/>
                        <a:pt x="80" y="119"/>
                      </a:cubicBezTo>
                      <a:cubicBezTo>
                        <a:pt x="86" y="119"/>
                        <a:pt x="92" y="118"/>
                        <a:pt x="97" y="118"/>
                      </a:cubicBezTo>
                      <a:cubicBezTo>
                        <a:pt x="94" y="91"/>
                        <a:pt x="86" y="37"/>
                        <a:pt x="74" y="17"/>
                      </a:cubicBezTo>
                      <a:cubicBezTo>
                        <a:pt x="71" y="16"/>
                        <a:pt x="67" y="16"/>
                        <a:pt x="63" y="16"/>
                      </a:cubicBezTo>
                      <a:cubicBezTo>
                        <a:pt x="46" y="16"/>
                        <a:pt x="29" y="21"/>
                        <a:pt x="20" y="24"/>
                      </a:cubicBezTo>
                      <a:cubicBezTo>
                        <a:pt x="31" y="47"/>
                        <a:pt x="48" y="95"/>
                        <a:pt x="54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dirty="0"/>
                </a:p>
              </p:txBody>
            </p:sp>
          </p:grpSp>
        </p:grpSp>
      </p:grpSp>
      <p:grpSp>
        <p:nvGrpSpPr>
          <p:cNvPr id="34" name="Group 33"/>
          <p:cNvGrpSpPr/>
          <p:nvPr userDrawn="1"/>
        </p:nvGrpSpPr>
        <p:grpSpPr>
          <a:xfrm>
            <a:off x="10692015" y="3121384"/>
            <a:ext cx="1386369" cy="951645"/>
            <a:chOff x="10906411" y="3220970"/>
            <a:chExt cx="1414169" cy="970590"/>
          </a:xfrm>
        </p:grpSpPr>
        <p:sp>
          <p:nvSpPr>
            <p:cNvPr id="35" name="TextBox 34"/>
            <p:cNvSpPr txBox="1"/>
            <p:nvPr userDrawn="1"/>
          </p:nvSpPr>
          <p:spPr>
            <a:xfrm>
              <a:off x="10906411" y="3785295"/>
              <a:ext cx="141416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REPUTATION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AND CERTIFICATION</a:t>
              </a:r>
            </a:p>
          </p:txBody>
        </p:sp>
        <p:grpSp>
          <p:nvGrpSpPr>
            <p:cNvPr id="36" name="Group 35"/>
            <p:cNvGrpSpPr/>
            <p:nvPr userDrawn="1"/>
          </p:nvGrpSpPr>
          <p:grpSpPr>
            <a:xfrm>
              <a:off x="11333432" y="3220970"/>
              <a:ext cx="560126" cy="560126"/>
              <a:chOff x="11333432" y="3220970"/>
              <a:chExt cx="560126" cy="560126"/>
            </a:xfrm>
          </p:grpSpPr>
          <p:sp>
            <p:nvSpPr>
              <p:cNvPr id="37" name="Oval 36"/>
              <p:cNvSpPr/>
              <p:nvPr/>
            </p:nvSpPr>
            <p:spPr bwMode="auto">
              <a:xfrm>
                <a:off x="11333432" y="3220970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8" name="Freeform 22"/>
              <p:cNvSpPr>
                <a:spLocks noEditPoints="1"/>
              </p:cNvSpPr>
              <p:nvPr userDrawn="1"/>
            </p:nvSpPr>
            <p:spPr bwMode="auto">
              <a:xfrm>
                <a:off x="11392997" y="3331874"/>
                <a:ext cx="440997" cy="338319"/>
              </a:xfrm>
              <a:custGeom>
                <a:avLst/>
                <a:gdLst>
                  <a:gd name="T0" fmla="*/ 74 w 272"/>
                  <a:gd name="T1" fmla="*/ 122 h 250"/>
                  <a:gd name="T2" fmla="*/ 72 w 272"/>
                  <a:gd name="T3" fmla="*/ 91 h 250"/>
                  <a:gd name="T4" fmla="*/ 21 w 272"/>
                  <a:gd name="T5" fmla="*/ 190 h 250"/>
                  <a:gd name="T6" fmla="*/ 53 w 272"/>
                  <a:gd name="T7" fmla="*/ 193 h 250"/>
                  <a:gd name="T8" fmla="*/ 134 w 272"/>
                  <a:gd name="T9" fmla="*/ 84 h 250"/>
                  <a:gd name="T10" fmla="*/ 134 w 272"/>
                  <a:gd name="T11" fmla="*/ 16 h 250"/>
                  <a:gd name="T12" fmla="*/ 62 w 272"/>
                  <a:gd name="T13" fmla="*/ 218 h 250"/>
                  <a:gd name="T14" fmla="*/ 0 w 272"/>
                  <a:gd name="T15" fmla="*/ 174 h 250"/>
                  <a:gd name="T16" fmla="*/ 39 w 272"/>
                  <a:gd name="T17" fmla="*/ 88 h 250"/>
                  <a:gd name="T18" fmla="*/ 39 w 272"/>
                  <a:gd name="T19" fmla="*/ 77 h 250"/>
                  <a:gd name="T20" fmla="*/ 73 w 272"/>
                  <a:gd name="T21" fmla="*/ 0 h 250"/>
                  <a:gd name="T22" fmla="*/ 134 w 272"/>
                  <a:gd name="T23" fmla="*/ 1 h 250"/>
                  <a:gd name="T24" fmla="*/ 199 w 272"/>
                  <a:gd name="T25" fmla="*/ 0 h 250"/>
                  <a:gd name="T26" fmla="*/ 233 w 272"/>
                  <a:gd name="T27" fmla="*/ 77 h 250"/>
                  <a:gd name="T28" fmla="*/ 233 w 272"/>
                  <a:gd name="T29" fmla="*/ 88 h 250"/>
                  <a:gd name="T30" fmla="*/ 272 w 272"/>
                  <a:gd name="T31" fmla="*/ 174 h 250"/>
                  <a:gd name="T32" fmla="*/ 207 w 272"/>
                  <a:gd name="T33" fmla="*/ 218 h 250"/>
                  <a:gd name="T34" fmla="*/ 66 w 272"/>
                  <a:gd name="T35" fmla="*/ 223 h 250"/>
                  <a:gd name="T36" fmla="*/ 251 w 272"/>
                  <a:gd name="T37" fmla="*/ 190 h 250"/>
                  <a:gd name="T38" fmla="*/ 199 w 272"/>
                  <a:gd name="T39" fmla="*/ 91 h 250"/>
                  <a:gd name="T40" fmla="*/ 194 w 272"/>
                  <a:gd name="T41" fmla="*/ 122 h 250"/>
                  <a:gd name="T42" fmla="*/ 214 w 272"/>
                  <a:gd name="T43" fmla="*/ 202 h 250"/>
                  <a:gd name="T44" fmla="*/ 224 w 272"/>
                  <a:gd name="T45" fmla="*/ 64 h 250"/>
                  <a:gd name="T46" fmla="*/ 199 w 272"/>
                  <a:gd name="T47" fmla="*/ 15 h 250"/>
                  <a:gd name="T48" fmla="*/ 185 w 272"/>
                  <a:gd name="T49" fmla="*/ 51 h 250"/>
                  <a:gd name="T50" fmla="*/ 199 w 272"/>
                  <a:gd name="T51" fmla="*/ 77 h 250"/>
                  <a:gd name="T52" fmla="*/ 224 w 272"/>
                  <a:gd name="T53" fmla="*/ 64 h 250"/>
                  <a:gd name="T54" fmla="*/ 200 w 272"/>
                  <a:gd name="T55" fmla="*/ 193 h 250"/>
                  <a:gd name="T56" fmla="*/ 150 w 272"/>
                  <a:gd name="T57" fmla="*/ 105 h 250"/>
                  <a:gd name="T58" fmla="*/ 122 w 272"/>
                  <a:gd name="T59" fmla="*/ 104 h 250"/>
                  <a:gd name="T60" fmla="*/ 70 w 272"/>
                  <a:gd name="T61" fmla="*/ 193 h 250"/>
                  <a:gd name="T62" fmla="*/ 78 w 272"/>
                  <a:gd name="T63" fmla="*/ 211 h 250"/>
                  <a:gd name="T64" fmla="*/ 183 w 272"/>
                  <a:gd name="T65" fmla="*/ 217 h 250"/>
                  <a:gd name="T66" fmla="*/ 198 w 272"/>
                  <a:gd name="T67" fmla="*/ 203 h 250"/>
                  <a:gd name="T68" fmla="*/ 93 w 272"/>
                  <a:gd name="T69" fmla="*/ 23 h 250"/>
                  <a:gd name="T70" fmla="*/ 41 w 272"/>
                  <a:gd name="T71" fmla="*/ 46 h 250"/>
                  <a:gd name="T72" fmla="*/ 50 w 272"/>
                  <a:gd name="T73" fmla="*/ 68 h 250"/>
                  <a:gd name="T74" fmla="*/ 88 w 272"/>
                  <a:gd name="T75" fmla="*/ 7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2" h="250">
                    <a:moveTo>
                      <a:pt x="53" y="193"/>
                    </a:moveTo>
                    <a:cubicBezTo>
                      <a:pt x="53" y="169"/>
                      <a:pt x="61" y="143"/>
                      <a:pt x="74" y="122"/>
                    </a:cubicBezTo>
                    <a:cubicBezTo>
                      <a:pt x="81" y="113"/>
                      <a:pt x="88" y="105"/>
                      <a:pt x="96" y="99"/>
                    </a:cubicBezTo>
                    <a:cubicBezTo>
                      <a:pt x="88" y="94"/>
                      <a:pt x="80" y="91"/>
                      <a:pt x="72" y="91"/>
                    </a:cubicBezTo>
                    <a:cubicBezTo>
                      <a:pt x="48" y="91"/>
                      <a:pt x="14" y="123"/>
                      <a:pt x="14" y="174"/>
                    </a:cubicBezTo>
                    <a:cubicBezTo>
                      <a:pt x="14" y="181"/>
                      <a:pt x="16" y="186"/>
                      <a:pt x="21" y="190"/>
                    </a:cubicBezTo>
                    <a:cubicBezTo>
                      <a:pt x="27" y="196"/>
                      <a:pt x="40" y="200"/>
                      <a:pt x="54" y="202"/>
                    </a:cubicBezTo>
                    <a:cubicBezTo>
                      <a:pt x="54" y="199"/>
                      <a:pt x="53" y="196"/>
                      <a:pt x="53" y="193"/>
                    </a:cubicBezTo>
                    <a:close/>
                    <a:moveTo>
                      <a:pt x="100" y="50"/>
                    </a:moveTo>
                    <a:cubicBezTo>
                      <a:pt x="100" y="69"/>
                      <a:pt x="116" y="84"/>
                      <a:pt x="134" y="84"/>
                    </a:cubicBezTo>
                    <a:cubicBezTo>
                      <a:pt x="153" y="84"/>
                      <a:pt x="168" y="69"/>
                      <a:pt x="168" y="50"/>
                    </a:cubicBezTo>
                    <a:cubicBezTo>
                      <a:pt x="168" y="31"/>
                      <a:pt x="153" y="16"/>
                      <a:pt x="134" y="16"/>
                    </a:cubicBezTo>
                    <a:cubicBezTo>
                      <a:pt x="116" y="16"/>
                      <a:pt x="100" y="31"/>
                      <a:pt x="100" y="50"/>
                    </a:cubicBezTo>
                    <a:close/>
                    <a:moveTo>
                      <a:pt x="62" y="218"/>
                    </a:moveTo>
                    <a:cubicBezTo>
                      <a:pt x="41" y="217"/>
                      <a:pt x="21" y="211"/>
                      <a:pt x="11" y="201"/>
                    </a:cubicBezTo>
                    <a:cubicBezTo>
                      <a:pt x="4" y="193"/>
                      <a:pt x="0" y="185"/>
                      <a:pt x="0" y="174"/>
                    </a:cubicBezTo>
                    <a:cubicBezTo>
                      <a:pt x="0" y="153"/>
                      <a:pt x="7" y="129"/>
                      <a:pt x="19" y="110"/>
                    </a:cubicBezTo>
                    <a:cubicBezTo>
                      <a:pt x="25" y="101"/>
                      <a:pt x="32" y="94"/>
                      <a:pt x="39" y="88"/>
                    </a:cubicBezTo>
                    <a:cubicBezTo>
                      <a:pt x="40" y="87"/>
                      <a:pt x="41" y="85"/>
                      <a:pt x="41" y="84"/>
                    </a:cubicBezTo>
                    <a:cubicBezTo>
                      <a:pt x="42" y="81"/>
                      <a:pt x="41" y="79"/>
                      <a:pt x="39" y="77"/>
                    </a:cubicBezTo>
                    <a:cubicBezTo>
                      <a:pt x="32" y="69"/>
                      <a:pt x="27" y="58"/>
                      <a:pt x="27" y="46"/>
                    </a:cubicBezTo>
                    <a:cubicBezTo>
                      <a:pt x="27" y="21"/>
                      <a:pt x="48" y="0"/>
                      <a:pt x="73" y="0"/>
                    </a:cubicBezTo>
                    <a:cubicBezTo>
                      <a:pt x="84" y="0"/>
                      <a:pt x="95" y="5"/>
                      <a:pt x="103" y="12"/>
                    </a:cubicBezTo>
                    <a:cubicBezTo>
                      <a:pt x="112" y="5"/>
                      <a:pt x="122" y="1"/>
                      <a:pt x="134" y="1"/>
                    </a:cubicBezTo>
                    <a:cubicBezTo>
                      <a:pt x="147" y="1"/>
                      <a:pt x="159" y="5"/>
                      <a:pt x="168" y="13"/>
                    </a:cubicBezTo>
                    <a:cubicBezTo>
                      <a:pt x="176" y="5"/>
                      <a:pt x="187" y="0"/>
                      <a:pt x="199" y="0"/>
                    </a:cubicBezTo>
                    <a:cubicBezTo>
                      <a:pt x="224" y="0"/>
                      <a:pt x="245" y="21"/>
                      <a:pt x="245" y="46"/>
                    </a:cubicBezTo>
                    <a:cubicBezTo>
                      <a:pt x="245" y="57"/>
                      <a:pt x="240" y="68"/>
                      <a:pt x="233" y="77"/>
                    </a:cubicBezTo>
                    <a:cubicBezTo>
                      <a:pt x="231" y="79"/>
                      <a:pt x="231" y="81"/>
                      <a:pt x="231" y="84"/>
                    </a:cubicBezTo>
                    <a:cubicBezTo>
                      <a:pt x="231" y="85"/>
                      <a:pt x="232" y="87"/>
                      <a:pt x="233" y="88"/>
                    </a:cubicBezTo>
                    <a:cubicBezTo>
                      <a:pt x="240" y="94"/>
                      <a:pt x="247" y="101"/>
                      <a:pt x="253" y="110"/>
                    </a:cubicBezTo>
                    <a:cubicBezTo>
                      <a:pt x="265" y="129"/>
                      <a:pt x="272" y="153"/>
                      <a:pt x="272" y="174"/>
                    </a:cubicBezTo>
                    <a:cubicBezTo>
                      <a:pt x="272" y="185"/>
                      <a:pt x="268" y="193"/>
                      <a:pt x="261" y="201"/>
                    </a:cubicBezTo>
                    <a:cubicBezTo>
                      <a:pt x="252" y="211"/>
                      <a:pt x="230" y="217"/>
                      <a:pt x="207" y="218"/>
                    </a:cubicBezTo>
                    <a:cubicBezTo>
                      <a:pt x="206" y="219"/>
                      <a:pt x="205" y="221"/>
                      <a:pt x="203" y="223"/>
                    </a:cubicBezTo>
                    <a:cubicBezTo>
                      <a:pt x="180" y="247"/>
                      <a:pt x="94" y="250"/>
                      <a:pt x="66" y="223"/>
                    </a:cubicBezTo>
                    <a:cubicBezTo>
                      <a:pt x="64" y="221"/>
                      <a:pt x="63" y="219"/>
                      <a:pt x="62" y="218"/>
                    </a:cubicBezTo>
                    <a:close/>
                    <a:moveTo>
                      <a:pt x="251" y="190"/>
                    </a:moveTo>
                    <a:cubicBezTo>
                      <a:pt x="256" y="186"/>
                      <a:pt x="258" y="181"/>
                      <a:pt x="258" y="174"/>
                    </a:cubicBezTo>
                    <a:cubicBezTo>
                      <a:pt x="258" y="123"/>
                      <a:pt x="224" y="91"/>
                      <a:pt x="199" y="91"/>
                    </a:cubicBezTo>
                    <a:cubicBezTo>
                      <a:pt x="192" y="91"/>
                      <a:pt x="183" y="95"/>
                      <a:pt x="174" y="100"/>
                    </a:cubicBezTo>
                    <a:cubicBezTo>
                      <a:pt x="182" y="106"/>
                      <a:pt x="188" y="113"/>
                      <a:pt x="194" y="122"/>
                    </a:cubicBezTo>
                    <a:cubicBezTo>
                      <a:pt x="207" y="143"/>
                      <a:pt x="215" y="169"/>
                      <a:pt x="215" y="193"/>
                    </a:cubicBezTo>
                    <a:cubicBezTo>
                      <a:pt x="215" y="196"/>
                      <a:pt x="215" y="199"/>
                      <a:pt x="214" y="202"/>
                    </a:cubicBezTo>
                    <a:cubicBezTo>
                      <a:pt x="230" y="201"/>
                      <a:pt x="244" y="197"/>
                      <a:pt x="251" y="190"/>
                    </a:cubicBezTo>
                    <a:close/>
                    <a:moveTo>
                      <a:pt x="224" y="64"/>
                    </a:moveTo>
                    <a:cubicBezTo>
                      <a:pt x="228" y="59"/>
                      <a:pt x="230" y="53"/>
                      <a:pt x="230" y="46"/>
                    </a:cubicBezTo>
                    <a:cubicBezTo>
                      <a:pt x="230" y="29"/>
                      <a:pt x="216" y="15"/>
                      <a:pt x="199" y="15"/>
                    </a:cubicBezTo>
                    <a:cubicBezTo>
                      <a:pt x="190" y="15"/>
                      <a:pt x="183" y="18"/>
                      <a:pt x="177" y="24"/>
                    </a:cubicBezTo>
                    <a:cubicBezTo>
                      <a:pt x="182" y="32"/>
                      <a:pt x="185" y="41"/>
                      <a:pt x="185" y="51"/>
                    </a:cubicBezTo>
                    <a:cubicBezTo>
                      <a:pt x="185" y="58"/>
                      <a:pt x="183" y="64"/>
                      <a:pt x="181" y="71"/>
                    </a:cubicBezTo>
                    <a:cubicBezTo>
                      <a:pt x="186" y="75"/>
                      <a:pt x="192" y="77"/>
                      <a:pt x="199" y="77"/>
                    </a:cubicBezTo>
                    <a:cubicBezTo>
                      <a:pt x="208" y="77"/>
                      <a:pt x="216" y="73"/>
                      <a:pt x="222" y="67"/>
                    </a:cubicBezTo>
                    <a:cubicBezTo>
                      <a:pt x="222" y="66"/>
                      <a:pt x="223" y="65"/>
                      <a:pt x="224" y="64"/>
                    </a:cubicBezTo>
                    <a:close/>
                    <a:moveTo>
                      <a:pt x="198" y="203"/>
                    </a:moveTo>
                    <a:cubicBezTo>
                      <a:pt x="199" y="200"/>
                      <a:pt x="200" y="197"/>
                      <a:pt x="200" y="193"/>
                    </a:cubicBezTo>
                    <a:cubicBezTo>
                      <a:pt x="200" y="155"/>
                      <a:pt x="182" y="126"/>
                      <a:pt x="162" y="112"/>
                    </a:cubicBezTo>
                    <a:cubicBezTo>
                      <a:pt x="158" y="109"/>
                      <a:pt x="154" y="106"/>
                      <a:pt x="150" y="105"/>
                    </a:cubicBezTo>
                    <a:cubicBezTo>
                      <a:pt x="144" y="103"/>
                      <a:pt x="140" y="101"/>
                      <a:pt x="135" y="101"/>
                    </a:cubicBezTo>
                    <a:cubicBezTo>
                      <a:pt x="131" y="101"/>
                      <a:pt x="126" y="102"/>
                      <a:pt x="122" y="104"/>
                    </a:cubicBezTo>
                    <a:cubicBezTo>
                      <a:pt x="118" y="105"/>
                      <a:pt x="114" y="107"/>
                      <a:pt x="109" y="111"/>
                    </a:cubicBezTo>
                    <a:cubicBezTo>
                      <a:pt x="89" y="124"/>
                      <a:pt x="70" y="153"/>
                      <a:pt x="70" y="193"/>
                    </a:cubicBezTo>
                    <a:cubicBezTo>
                      <a:pt x="70" y="197"/>
                      <a:pt x="71" y="200"/>
                      <a:pt x="72" y="203"/>
                    </a:cubicBezTo>
                    <a:cubicBezTo>
                      <a:pt x="73" y="206"/>
                      <a:pt x="75" y="209"/>
                      <a:pt x="78" y="211"/>
                    </a:cubicBezTo>
                    <a:cubicBezTo>
                      <a:pt x="80" y="213"/>
                      <a:pt x="84" y="216"/>
                      <a:pt x="88" y="217"/>
                    </a:cubicBezTo>
                    <a:cubicBezTo>
                      <a:pt x="112" y="227"/>
                      <a:pt x="159" y="227"/>
                      <a:pt x="183" y="217"/>
                    </a:cubicBezTo>
                    <a:cubicBezTo>
                      <a:pt x="187" y="215"/>
                      <a:pt x="190" y="213"/>
                      <a:pt x="193" y="211"/>
                    </a:cubicBezTo>
                    <a:cubicBezTo>
                      <a:pt x="195" y="209"/>
                      <a:pt x="197" y="206"/>
                      <a:pt x="198" y="203"/>
                    </a:cubicBezTo>
                    <a:close/>
                    <a:moveTo>
                      <a:pt x="84" y="51"/>
                    </a:moveTo>
                    <a:cubicBezTo>
                      <a:pt x="84" y="40"/>
                      <a:pt x="87" y="31"/>
                      <a:pt x="93" y="23"/>
                    </a:cubicBezTo>
                    <a:cubicBezTo>
                      <a:pt x="87" y="18"/>
                      <a:pt x="80" y="15"/>
                      <a:pt x="72" y="15"/>
                    </a:cubicBezTo>
                    <a:cubicBezTo>
                      <a:pt x="55" y="15"/>
                      <a:pt x="41" y="29"/>
                      <a:pt x="41" y="46"/>
                    </a:cubicBezTo>
                    <a:cubicBezTo>
                      <a:pt x="41" y="53"/>
                      <a:pt x="43" y="59"/>
                      <a:pt x="47" y="64"/>
                    </a:cubicBezTo>
                    <a:cubicBezTo>
                      <a:pt x="48" y="65"/>
                      <a:pt x="49" y="67"/>
                      <a:pt x="50" y="68"/>
                    </a:cubicBezTo>
                    <a:cubicBezTo>
                      <a:pt x="56" y="74"/>
                      <a:pt x="64" y="77"/>
                      <a:pt x="72" y="77"/>
                    </a:cubicBezTo>
                    <a:cubicBezTo>
                      <a:pt x="78" y="77"/>
                      <a:pt x="84" y="76"/>
                      <a:pt x="88" y="73"/>
                    </a:cubicBezTo>
                    <a:cubicBezTo>
                      <a:pt x="86" y="66"/>
                      <a:pt x="84" y="59"/>
                      <a:pt x="84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dirty="0">
                  <a:solidFill>
                    <a:srgbClr val="3F3F3F"/>
                  </a:solidFill>
                </a:endParaRPr>
              </a:p>
            </p:txBody>
          </p:sp>
        </p:grpSp>
      </p:grpSp>
      <p:grpSp>
        <p:nvGrpSpPr>
          <p:cNvPr id="39" name="Group 38"/>
          <p:cNvGrpSpPr/>
          <p:nvPr userDrawn="1"/>
        </p:nvGrpSpPr>
        <p:grpSpPr>
          <a:xfrm>
            <a:off x="10777690" y="4138791"/>
            <a:ext cx="1215013" cy="831125"/>
            <a:chOff x="10993807" y="4251543"/>
            <a:chExt cx="1239377" cy="847670"/>
          </a:xfrm>
        </p:grpSpPr>
        <p:sp>
          <p:nvSpPr>
            <p:cNvPr id="40" name="TextBox 39"/>
            <p:cNvSpPr txBox="1"/>
            <p:nvPr userDrawn="1"/>
          </p:nvSpPr>
          <p:spPr>
            <a:xfrm>
              <a:off x="10993807" y="4800090"/>
              <a:ext cx="1239377" cy="299123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HIGHLY CURATED</a:t>
              </a:r>
            </a:p>
          </p:txBody>
        </p:sp>
        <p:grpSp>
          <p:nvGrpSpPr>
            <p:cNvPr id="41" name="Group 40"/>
            <p:cNvGrpSpPr/>
            <p:nvPr userDrawn="1"/>
          </p:nvGrpSpPr>
          <p:grpSpPr>
            <a:xfrm>
              <a:off x="11333432" y="4251543"/>
              <a:ext cx="560126" cy="560126"/>
              <a:chOff x="11333430" y="4251543"/>
              <a:chExt cx="560126" cy="560126"/>
            </a:xfrm>
          </p:grpSpPr>
          <p:sp>
            <p:nvSpPr>
              <p:cNvPr id="42" name="Oval 41"/>
              <p:cNvSpPr/>
              <p:nvPr userDrawn="1"/>
            </p:nvSpPr>
            <p:spPr bwMode="auto">
              <a:xfrm>
                <a:off x="11333430" y="425154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Freeform 115"/>
              <p:cNvSpPr>
                <a:spLocks noChangeAspect="1" noEditPoints="1"/>
              </p:cNvSpPr>
              <p:nvPr userDrawn="1"/>
            </p:nvSpPr>
            <p:spPr bwMode="black">
              <a:xfrm>
                <a:off x="11441482" y="4370486"/>
                <a:ext cx="344023" cy="322241"/>
              </a:xfrm>
              <a:custGeom>
                <a:avLst/>
                <a:gdLst>
                  <a:gd name="T0" fmla="*/ 63 w 68"/>
                  <a:gd name="T1" fmla="*/ 12 h 66"/>
                  <a:gd name="T2" fmla="*/ 48 w 68"/>
                  <a:gd name="T3" fmla="*/ 1 h 66"/>
                  <a:gd name="T4" fmla="*/ 42 w 68"/>
                  <a:gd name="T5" fmla="*/ 0 h 66"/>
                  <a:gd name="T6" fmla="*/ 18 w 68"/>
                  <a:gd name="T7" fmla="*/ 19 h 66"/>
                  <a:gd name="T8" fmla="*/ 21 w 68"/>
                  <a:gd name="T9" fmla="*/ 37 h 66"/>
                  <a:gd name="T10" fmla="*/ 2 w 68"/>
                  <a:gd name="T11" fmla="*/ 56 h 66"/>
                  <a:gd name="T12" fmla="*/ 2 w 68"/>
                  <a:gd name="T13" fmla="*/ 65 h 66"/>
                  <a:gd name="T14" fmla="*/ 7 w 68"/>
                  <a:gd name="T15" fmla="*/ 66 h 66"/>
                  <a:gd name="T16" fmla="*/ 11 w 68"/>
                  <a:gd name="T17" fmla="*/ 65 h 66"/>
                  <a:gd name="T18" fmla="*/ 30 w 68"/>
                  <a:gd name="T19" fmla="*/ 46 h 66"/>
                  <a:gd name="T20" fmla="*/ 36 w 68"/>
                  <a:gd name="T21" fmla="*/ 49 h 66"/>
                  <a:gd name="T22" fmla="*/ 42 w 68"/>
                  <a:gd name="T23" fmla="*/ 50 h 66"/>
                  <a:gd name="T24" fmla="*/ 66 w 68"/>
                  <a:gd name="T25" fmla="*/ 31 h 66"/>
                  <a:gd name="T26" fmla="*/ 63 w 68"/>
                  <a:gd name="T27" fmla="*/ 12 h 66"/>
                  <a:gd name="T28" fmla="*/ 59 w 68"/>
                  <a:gd name="T29" fmla="*/ 29 h 66"/>
                  <a:gd name="T30" fmla="*/ 42 w 68"/>
                  <a:gd name="T31" fmla="*/ 42 h 66"/>
                  <a:gd name="T32" fmla="*/ 38 w 68"/>
                  <a:gd name="T33" fmla="*/ 42 h 66"/>
                  <a:gd name="T34" fmla="*/ 26 w 68"/>
                  <a:gd name="T35" fmla="*/ 21 h 66"/>
                  <a:gd name="T36" fmla="*/ 42 w 68"/>
                  <a:gd name="T37" fmla="*/ 8 h 66"/>
                  <a:gd name="T38" fmla="*/ 46 w 68"/>
                  <a:gd name="T39" fmla="*/ 8 h 66"/>
                  <a:gd name="T40" fmla="*/ 57 w 68"/>
                  <a:gd name="T41" fmla="*/ 16 h 66"/>
                  <a:gd name="T42" fmla="*/ 59 w 68"/>
                  <a:gd name="T43" fmla="*/ 2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66">
                    <a:moveTo>
                      <a:pt x="63" y="12"/>
                    </a:moveTo>
                    <a:cubicBezTo>
                      <a:pt x="60" y="6"/>
                      <a:pt x="55" y="2"/>
                      <a:pt x="48" y="1"/>
                    </a:cubicBezTo>
                    <a:cubicBezTo>
                      <a:pt x="46" y="0"/>
                      <a:pt x="44" y="0"/>
                      <a:pt x="42" y="0"/>
                    </a:cubicBezTo>
                    <a:cubicBezTo>
                      <a:pt x="31" y="0"/>
                      <a:pt x="21" y="8"/>
                      <a:pt x="18" y="19"/>
                    </a:cubicBezTo>
                    <a:cubicBezTo>
                      <a:pt x="17" y="25"/>
                      <a:pt x="18" y="32"/>
                      <a:pt x="21" y="3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8"/>
                      <a:pt x="0" y="62"/>
                      <a:pt x="2" y="65"/>
                    </a:cubicBezTo>
                    <a:cubicBezTo>
                      <a:pt x="4" y="66"/>
                      <a:pt x="5" y="66"/>
                      <a:pt x="7" y="66"/>
                    </a:cubicBezTo>
                    <a:cubicBezTo>
                      <a:pt x="8" y="66"/>
                      <a:pt x="10" y="66"/>
                      <a:pt x="11" y="6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32" y="47"/>
                      <a:pt x="34" y="48"/>
                      <a:pt x="36" y="49"/>
                    </a:cubicBezTo>
                    <a:cubicBezTo>
                      <a:pt x="38" y="49"/>
                      <a:pt x="40" y="50"/>
                      <a:pt x="42" y="50"/>
                    </a:cubicBezTo>
                    <a:cubicBezTo>
                      <a:pt x="54" y="50"/>
                      <a:pt x="64" y="42"/>
                      <a:pt x="66" y="31"/>
                    </a:cubicBezTo>
                    <a:cubicBezTo>
                      <a:pt x="68" y="24"/>
                      <a:pt x="67" y="18"/>
                      <a:pt x="63" y="12"/>
                    </a:cubicBezTo>
                    <a:close/>
                    <a:moveTo>
                      <a:pt x="59" y="29"/>
                    </a:moveTo>
                    <a:cubicBezTo>
                      <a:pt x="57" y="37"/>
                      <a:pt x="50" y="42"/>
                      <a:pt x="42" y="42"/>
                    </a:cubicBezTo>
                    <a:cubicBezTo>
                      <a:pt x="41" y="42"/>
                      <a:pt x="40" y="42"/>
                      <a:pt x="38" y="42"/>
                    </a:cubicBezTo>
                    <a:cubicBezTo>
                      <a:pt x="29" y="39"/>
                      <a:pt x="23" y="30"/>
                      <a:pt x="26" y="21"/>
                    </a:cubicBezTo>
                    <a:cubicBezTo>
                      <a:pt x="28" y="13"/>
                      <a:pt x="34" y="8"/>
                      <a:pt x="42" y="8"/>
                    </a:cubicBezTo>
                    <a:cubicBezTo>
                      <a:pt x="44" y="8"/>
                      <a:pt x="45" y="8"/>
                      <a:pt x="46" y="8"/>
                    </a:cubicBezTo>
                    <a:cubicBezTo>
                      <a:pt x="51" y="9"/>
                      <a:pt x="55" y="12"/>
                      <a:pt x="57" y="16"/>
                    </a:cubicBezTo>
                    <a:cubicBezTo>
                      <a:pt x="59" y="20"/>
                      <a:pt x="60" y="25"/>
                      <a:pt x="5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5135" tIns="47567" rIns="95135" bIns="47567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spc="1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4" name="Group 43"/>
          <p:cNvGrpSpPr/>
          <p:nvPr userDrawn="1"/>
        </p:nvGrpSpPr>
        <p:grpSpPr>
          <a:xfrm>
            <a:off x="10819305" y="5032087"/>
            <a:ext cx="1131788" cy="936175"/>
            <a:chOff x="11036254" y="5132263"/>
            <a:chExt cx="1154483" cy="954812"/>
          </a:xfrm>
        </p:grpSpPr>
        <p:sp>
          <p:nvSpPr>
            <p:cNvPr id="45" name="TextBox 44"/>
            <p:cNvSpPr txBox="1"/>
            <p:nvPr userDrawn="1"/>
          </p:nvSpPr>
          <p:spPr>
            <a:xfrm>
              <a:off x="11036254" y="5680810"/>
              <a:ext cx="1154483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 marL="0" algn="ctr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LEARNING AND </a:t>
              </a:r>
              <a:b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</a:br>
              <a:r>
                <a:rPr lang="en-US" sz="784" b="1" kern="1200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+mn-ea"/>
                  <a:cs typeface="Segoe UI" panose="020B0502040204020203" pitchFamily="34" charset="0"/>
                </a:rPr>
                <a:t>DATA SCIENCE</a:t>
              </a:r>
            </a:p>
          </p:txBody>
        </p:sp>
        <p:grpSp>
          <p:nvGrpSpPr>
            <p:cNvPr id="46" name="Group 45"/>
            <p:cNvGrpSpPr/>
            <p:nvPr userDrawn="1"/>
          </p:nvGrpSpPr>
          <p:grpSpPr>
            <a:xfrm>
              <a:off x="11333432" y="5132263"/>
              <a:ext cx="560126" cy="560126"/>
              <a:chOff x="11333429" y="5132263"/>
              <a:chExt cx="560126" cy="560126"/>
            </a:xfrm>
          </p:grpSpPr>
          <p:sp>
            <p:nvSpPr>
              <p:cNvPr id="47" name="Oval 46"/>
              <p:cNvSpPr/>
              <p:nvPr userDrawn="1"/>
            </p:nvSpPr>
            <p:spPr bwMode="auto">
              <a:xfrm>
                <a:off x="11333429" y="5132263"/>
                <a:ext cx="560126" cy="560126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784" b="1" spc="98" baseline="0" dirty="0">
                  <a:gradFill>
                    <a:gsLst>
                      <a:gs pos="2917">
                        <a:schemeClr val="bg2">
                          <a:lumMod val="75000"/>
                        </a:schemeClr>
                      </a:gs>
                      <a:gs pos="100000">
                        <a:schemeClr val="bg2">
                          <a:lumMod val="75000"/>
                        </a:schemeClr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Freeform 55"/>
              <p:cNvSpPr>
                <a:spLocks noEditPoints="1"/>
              </p:cNvSpPr>
              <p:nvPr userDrawn="1"/>
            </p:nvSpPr>
            <p:spPr bwMode="auto">
              <a:xfrm>
                <a:off x="11456461" y="5212642"/>
                <a:ext cx="314062" cy="399368"/>
              </a:xfrm>
              <a:custGeom>
                <a:avLst/>
                <a:gdLst>
                  <a:gd name="T0" fmla="*/ 48 w 66"/>
                  <a:gd name="T1" fmla="*/ 61 h 88"/>
                  <a:gd name="T2" fmla="*/ 45 w 66"/>
                  <a:gd name="T3" fmla="*/ 23 h 88"/>
                  <a:gd name="T4" fmla="*/ 44 w 66"/>
                  <a:gd name="T5" fmla="*/ 18 h 88"/>
                  <a:gd name="T6" fmla="*/ 62 w 66"/>
                  <a:gd name="T7" fmla="*/ 17 h 88"/>
                  <a:gd name="T8" fmla="*/ 63 w 66"/>
                  <a:gd name="T9" fmla="*/ 22 h 88"/>
                  <a:gd name="T10" fmla="*/ 59 w 66"/>
                  <a:gd name="T11" fmla="*/ 23 h 88"/>
                  <a:gd name="T12" fmla="*/ 53 w 66"/>
                  <a:gd name="T13" fmla="*/ 66 h 88"/>
                  <a:gd name="T14" fmla="*/ 45 w 66"/>
                  <a:gd name="T15" fmla="*/ 14 h 88"/>
                  <a:gd name="T16" fmla="*/ 40 w 66"/>
                  <a:gd name="T17" fmla="*/ 22 h 88"/>
                  <a:gd name="T18" fmla="*/ 44 w 66"/>
                  <a:gd name="T19" fmla="*/ 61 h 88"/>
                  <a:gd name="T20" fmla="*/ 62 w 66"/>
                  <a:gd name="T21" fmla="*/ 61 h 88"/>
                  <a:gd name="T22" fmla="*/ 66 w 66"/>
                  <a:gd name="T23" fmla="*/ 22 h 88"/>
                  <a:gd name="T24" fmla="*/ 62 w 66"/>
                  <a:gd name="T25" fmla="*/ 14 h 88"/>
                  <a:gd name="T26" fmla="*/ 4 w 66"/>
                  <a:gd name="T27" fmla="*/ 83 h 88"/>
                  <a:gd name="T28" fmla="*/ 19 w 66"/>
                  <a:gd name="T29" fmla="*/ 59 h 88"/>
                  <a:gd name="T30" fmla="*/ 21 w 66"/>
                  <a:gd name="T31" fmla="*/ 36 h 88"/>
                  <a:gd name="T32" fmla="*/ 18 w 66"/>
                  <a:gd name="T33" fmla="*/ 35 h 88"/>
                  <a:gd name="T34" fmla="*/ 18 w 66"/>
                  <a:gd name="T35" fmla="*/ 30 h 88"/>
                  <a:gd name="T36" fmla="*/ 34 w 66"/>
                  <a:gd name="T37" fmla="*/ 31 h 88"/>
                  <a:gd name="T38" fmla="*/ 34 w 66"/>
                  <a:gd name="T39" fmla="*/ 36 h 88"/>
                  <a:gd name="T40" fmla="*/ 31 w 66"/>
                  <a:gd name="T41" fmla="*/ 52 h 88"/>
                  <a:gd name="T42" fmla="*/ 47 w 66"/>
                  <a:gd name="T43" fmla="*/ 80 h 88"/>
                  <a:gd name="T44" fmla="*/ 47 w 66"/>
                  <a:gd name="T45" fmla="*/ 84 h 88"/>
                  <a:gd name="T46" fmla="*/ 34 w 66"/>
                  <a:gd name="T47" fmla="*/ 26 h 88"/>
                  <a:gd name="T48" fmla="*/ 14 w 66"/>
                  <a:gd name="T49" fmla="*/ 31 h 88"/>
                  <a:gd name="T50" fmla="*/ 18 w 66"/>
                  <a:gd name="T51" fmla="*/ 40 h 88"/>
                  <a:gd name="T52" fmla="*/ 16 w 66"/>
                  <a:gd name="T53" fmla="*/ 57 h 88"/>
                  <a:gd name="T54" fmla="*/ 0 w 66"/>
                  <a:gd name="T55" fmla="*/ 83 h 88"/>
                  <a:gd name="T56" fmla="*/ 5 w 66"/>
                  <a:gd name="T57" fmla="*/ 88 h 88"/>
                  <a:gd name="T58" fmla="*/ 51 w 66"/>
                  <a:gd name="T59" fmla="*/ 85 h 88"/>
                  <a:gd name="T60" fmla="*/ 50 w 66"/>
                  <a:gd name="T61" fmla="*/ 78 h 88"/>
                  <a:gd name="T62" fmla="*/ 34 w 66"/>
                  <a:gd name="T63" fmla="*/ 52 h 88"/>
                  <a:gd name="T64" fmla="*/ 38 w 66"/>
                  <a:gd name="T65" fmla="*/ 35 h 88"/>
                  <a:gd name="T66" fmla="*/ 34 w 66"/>
                  <a:gd name="T67" fmla="*/ 26 h 88"/>
                  <a:gd name="T68" fmla="*/ 51 w 66"/>
                  <a:gd name="T69" fmla="*/ 35 h 88"/>
                  <a:gd name="T70" fmla="*/ 53 w 66"/>
                  <a:gd name="T71" fmla="*/ 64 h 88"/>
                  <a:gd name="T72" fmla="*/ 56 w 66"/>
                  <a:gd name="T73" fmla="*/ 35 h 88"/>
                  <a:gd name="T74" fmla="*/ 26 w 66"/>
                  <a:gd name="T75" fmla="*/ 62 h 88"/>
                  <a:gd name="T76" fmla="*/ 8 w 66"/>
                  <a:gd name="T77" fmla="*/ 80 h 88"/>
                  <a:gd name="T78" fmla="*/ 26 w 66"/>
                  <a:gd name="T79" fmla="*/ 82 h 88"/>
                  <a:gd name="T80" fmla="*/ 44 w 66"/>
                  <a:gd name="T81" fmla="*/ 80 h 88"/>
                  <a:gd name="T82" fmla="*/ 20 w 66"/>
                  <a:gd name="T83" fmla="*/ 0 h 88"/>
                  <a:gd name="T84" fmla="*/ 20 w 66"/>
                  <a:gd name="T85" fmla="*/ 6 h 88"/>
                  <a:gd name="T86" fmla="*/ 20 w 66"/>
                  <a:gd name="T87" fmla="*/ 0 h 88"/>
                  <a:gd name="T88" fmla="*/ 25 w 66"/>
                  <a:gd name="T89" fmla="*/ 8 h 88"/>
                  <a:gd name="T90" fmla="*/ 36 w 66"/>
                  <a:gd name="T91" fmla="*/ 8 h 88"/>
                  <a:gd name="T92" fmla="*/ 25 w 66"/>
                  <a:gd name="T93" fmla="*/ 16 h 88"/>
                  <a:gd name="T94" fmla="*/ 25 w 66"/>
                  <a:gd name="T95" fmla="*/ 24 h 88"/>
                  <a:gd name="T96" fmla="*/ 25 w 66"/>
                  <a:gd name="T97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" h="88">
                    <a:moveTo>
                      <a:pt x="53" y="66"/>
                    </a:moveTo>
                    <a:cubicBezTo>
                      <a:pt x="51" y="66"/>
                      <a:pt x="48" y="64"/>
                      <a:pt x="48" y="61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4" y="23"/>
                      <a:pt x="44" y="22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5" y="17"/>
                      <a:pt x="45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7"/>
                      <a:pt x="63" y="18"/>
                      <a:pt x="63" y="18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3"/>
                      <a:pt x="62" y="23"/>
                      <a:pt x="62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1"/>
                      <a:pt x="59" y="61"/>
                      <a:pt x="59" y="61"/>
                    </a:cubicBezTo>
                    <a:cubicBezTo>
                      <a:pt x="59" y="64"/>
                      <a:pt x="56" y="66"/>
                      <a:pt x="53" y="66"/>
                    </a:cubicBezTo>
                    <a:moveTo>
                      <a:pt x="62" y="14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3" y="14"/>
                      <a:pt x="40" y="16"/>
                      <a:pt x="40" y="18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5"/>
                      <a:pt x="42" y="27"/>
                      <a:pt x="44" y="27"/>
                    </a:cubicBezTo>
                    <a:cubicBezTo>
                      <a:pt x="44" y="30"/>
                      <a:pt x="44" y="61"/>
                      <a:pt x="44" y="61"/>
                    </a:cubicBezTo>
                    <a:cubicBezTo>
                      <a:pt x="44" y="66"/>
                      <a:pt x="48" y="70"/>
                      <a:pt x="53" y="70"/>
                    </a:cubicBezTo>
                    <a:cubicBezTo>
                      <a:pt x="58" y="70"/>
                      <a:pt x="62" y="66"/>
                      <a:pt x="62" y="61"/>
                    </a:cubicBezTo>
                    <a:cubicBezTo>
                      <a:pt x="62" y="61"/>
                      <a:pt x="62" y="30"/>
                      <a:pt x="62" y="27"/>
                    </a:cubicBezTo>
                    <a:cubicBezTo>
                      <a:pt x="65" y="27"/>
                      <a:pt x="66" y="25"/>
                      <a:pt x="66" y="22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6" y="16"/>
                      <a:pt x="64" y="14"/>
                      <a:pt x="62" y="14"/>
                    </a:cubicBezTo>
                    <a:moveTo>
                      <a:pt x="5" y="84"/>
                    </a:moveTo>
                    <a:cubicBezTo>
                      <a:pt x="5" y="84"/>
                      <a:pt x="4" y="84"/>
                      <a:pt x="4" y="83"/>
                    </a:cubicBezTo>
                    <a:cubicBezTo>
                      <a:pt x="3" y="83"/>
                      <a:pt x="3" y="82"/>
                      <a:pt x="4" y="80"/>
                    </a:cubicBezTo>
                    <a:cubicBezTo>
                      <a:pt x="5" y="79"/>
                      <a:pt x="18" y="61"/>
                      <a:pt x="19" y="59"/>
                    </a:cubicBezTo>
                    <a:cubicBezTo>
                      <a:pt x="20" y="57"/>
                      <a:pt x="21" y="55"/>
                      <a:pt x="21" y="5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8" y="36"/>
                      <a:pt x="18" y="35"/>
                      <a:pt x="18" y="35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0"/>
                      <a:pt x="18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4" y="31"/>
                      <a:pt x="34" y="31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5"/>
                      <a:pt x="32" y="57"/>
                      <a:pt x="33" y="59"/>
                    </a:cubicBezTo>
                    <a:cubicBezTo>
                      <a:pt x="34" y="61"/>
                      <a:pt x="47" y="79"/>
                      <a:pt x="47" y="80"/>
                    </a:cubicBezTo>
                    <a:cubicBezTo>
                      <a:pt x="49" y="82"/>
                      <a:pt x="49" y="83"/>
                      <a:pt x="48" y="83"/>
                    </a:cubicBezTo>
                    <a:cubicBezTo>
                      <a:pt x="48" y="84"/>
                      <a:pt x="47" y="84"/>
                      <a:pt x="47" y="84"/>
                    </a:cubicBezTo>
                    <a:cubicBezTo>
                      <a:pt x="5" y="84"/>
                      <a:pt x="5" y="84"/>
                      <a:pt x="5" y="84"/>
                    </a:cubicBezTo>
                    <a:moveTo>
                      <a:pt x="34" y="26"/>
                    </a:moveTo>
                    <a:cubicBezTo>
                      <a:pt x="18" y="26"/>
                      <a:pt x="18" y="26"/>
                      <a:pt x="18" y="26"/>
                    </a:cubicBezTo>
                    <a:cubicBezTo>
                      <a:pt x="16" y="26"/>
                      <a:pt x="14" y="28"/>
                      <a:pt x="14" y="31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7"/>
                      <a:pt x="16" y="39"/>
                      <a:pt x="18" y="40"/>
                    </a:cubicBezTo>
                    <a:cubicBezTo>
                      <a:pt x="18" y="42"/>
                      <a:pt x="18" y="52"/>
                      <a:pt x="18" y="52"/>
                    </a:cubicBezTo>
                    <a:cubicBezTo>
                      <a:pt x="18" y="53"/>
                      <a:pt x="17" y="55"/>
                      <a:pt x="16" y="57"/>
                    </a:cubicBezTo>
                    <a:cubicBezTo>
                      <a:pt x="15" y="58"/>
                      <a:pt x="2" y="78"/>
                      <a:pt x="2" y="78"/>
                    </a:cubicBezTo>
                    <a:cubicBezTo>
                      <a:pt x="1" y="80"/>
                      <a:pt x="0" y="81"/>
                      <a:pt x="0" y="83"/>
                    </a:cubicBezTo>
                    <a:cubicBezTo>
                      <a:pt x="0" y="84"/>
                      <a:pt x="0" y="84"/>
                      <a:pt x="1" y="85"/>
                    </a:cubicBezTo>
                    <a:cubicBezTo>
                      <a:pt x="1" y="87"/>
                      <a:pt x="3" y="88"/>
                      <a:pt x="5" y="88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9" y="88"/>
                      <a:pt x="51" y="87"/>
                      <a:pt x="51" y="85"/>
                    </a:cubicBezTo>
                    <a:cubicBezTo>
                      <a:pt x="52" y="84"/>
                      <a:pt x="52" y="84"/>
                      <a:pt x="52" y="83"/>
                    </a:cubicBezTo>
                    <a:cubicBezTo>
                      <a:pt x="52" y="81"/>
                      <a:pt x="51" y="80"/>
                      <a:pt x="50" y="78"/>
                    </a:cubicBezTo>
                    <a:cubicBezTo>
                      <a:pt x="50" y="78"/>
                      <a:pt x="37" y="58"/>
                      <a:pt x="36" y="57"/>
                    </a:cubicBezTo>
                    <a:cubicBezTo>
                      <a:pt x="35" y="55"/>
                      <a:pt x="34" y="53"/>
                      <a:pt x="34" y="52"/>
                    </a:cubicBezTo>
                    <a:cubicBezTo>
                      <a:pt x="34" y="52"/>
                      <a:pt x="34" y="42"/>
                      <a:pt x="34" y="40"/>
                    </a:cubicBezTo>
                    <a:cubicBezTo>
                      <a:pt x="36" y="39"/>
                      <a:pt x="38" y="37"/>
                      <a:pt x="38" y="35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28"/>
                      <a:pt x="36" y="26"/>
                      <a:pt x="34" y="26"/>
                    </a:cubicBezTo>
                    <a:moveTo>
                      <a:pt x="56" y="35"/>
                    </a:move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1" y="63"/>
                      <a:pt x="52" y="64"/>
                      <a:pt x="53" y="64"/>
                    </a:cubicBezTo>
                    <a:cubicBezTo>
                      <a:pt x="55" y="64"/>
                      <a:pt x="56" y="63"/>
                      <a:pt x="56" y="61"/>
                    </a:cubicBezTo>
                    <a:cubicBezTo>
                      <a:pt x="56" y="35"/>
                      <a:pt x="56" y="35"/>
                      <a:pt x="56" y="35"/>
                    </a:cubicBezTo>
                    <a:moveTo>
                      <a:pt x="32" y="62"/>
                    </a:moveTo>
                    <a:cubicBezTo>
                      <a:pt x="26" y="62"/>
                      <a:pt x="26" y="62"/>
                      <a:pt x="26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81"/>
                      <a:pt x="8" y="82"/>
                      <a:pt x="10" y="82"/>
                    </a:cubicBezTo>
                    <a:cubicBezTo>
                      <a:pt x="11" y="82"/>
                      <a:pt x="26" y="82"/>
                      <a:pt x="26" y="82"/>
                    </a:cubicBezTo>
                    <a:cubicBezTo>
                      <a:pt x="26" y="82"/>
                      <a:pt x="41" y="82"/>
                      <a:pt x="42" y="82"/>
                    </a:cubicBezTo>
                    <a:cubicBezTo>
                      <a:pt x="44" y="82"/>
                      <a:pt x="44" y="81"/>
                      <a:pt x="44" y="80"/>
                    </a:cubicBezTo>
                    <a:cubicBezTo>
                      <a:pt x="32" y="62"/>
                      <a:pt x="32" y="62"/>
                      <a:pt x="32" y="62"/>
                    </a:cubicBezTo>
                    <a:moveTo>
                      <a:pt x="20" y="0"/>
                    </a:moveTo>
                    <a:cubicBezTo>
                      <a:pt x="18" y="0"/>
                      <a:pt x="17" y="2"/>
                      <a:pt x="17" y="3"/>
                    </a:cubicBezTo>
                    <a:cubicBezTo>
                      <a:pt x="17" y="5"/>
                      <a:pt x="18" y="6"/>
                      <a:pt x="20" y="6"/>
                    </a:cubicBezTo>
                    <a:cubicBezTo>
                      <a:pt x="21" y="6"/>
                      <a:pt x="23" y="5"/>
                      <a:pt x="23" y="3"/>
                    </a:cubicBezTo>
                    <a:cubicBezTo>
                      <a:pt x="23" y="2"/>
                      <a:pt x="21" y="0"/>
                      <a:pt x="20" y="0"/>
                    </a:cubicBezTo>
                    <a:moveTo>
                      <a:pt x="31" y="3"/>
                    </a:moveTo>
                    <a:cubicBezTo>
                      <a:pt x="28" y="3"/>
                      <a:pt x="25" y="5"/>
                      <a:pt x="25" y="8"/>
                    </a:cubicBezTo>
                    <a:cubicBezTo>
                      <a:pt x="25" y="11"/>
                      <a:pt x="28" y="13"/>
                      <a:pt x="31" y="13"/>
                    </a:cubicBezTo>
                    <a:cubicBezTo>
                      <a:pt x="34" y="13"/>
                      <a:pt x="36" y="11"/>
                      <a:pt x="36" y="8"/>
                    </a:cubicBezTo>
                    <a:cubicBezTo>
                      <a:pt x="36" y="5"/>
                      <a:pt x="34" y="3"/>
                      <a:pt x="31" y="3"/>
                    </a:cubicBezTo>
                    <a:moveTo>
                      <a:pt x="25" y="16"/>
                    </a:moveTo>
                    <a:cubicBezTo>
                      <a:pt x="23" y="16"/>
                      <a:pt x="22" y="18"/>
                      <a:pt x="22" y="20"/>
                    </a:cubicBezTo>
                    <a:cubicBezTo>
                      <a:pt x="22" y="22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29" y="20"/>
                    </a:cubicBezTo>
                    <a:cubicBezTo>
                      <a:pt x="29" y="18"/>
                      <a:pt x="27" y="16"/>
                      <a:pt x="25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32380"/>
                <a:endParaRPr lang="en-US" sz="1800" spc="100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125413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33941" y="55159"/>
            <a:ext cx="10972800" cy="58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1573" tIns="40787" rIns="81573" bIns="407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 rot="1179174">
            <a:off x="1577787" y="1914014"/>
            <a:ext cx="9888071" cy="3106428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defTabSz="914225">
              <a:lnSpc>
                <a:spcPct val="90000"/>
              </a:lnSpc>
              <a:spcAft>
                <a:spcPts val="600"/>
              </a:spcAft>
            </a:pPr>
            <a:r>
              <a:rPr lang="en-US" sz="19896" dirty="0">
                <a:solidFill>
                  <a:prstClr val="white">
                    <a:lumMod val="50000"/>
                    <a:alpha val="46000"/>
                  </a:prstClr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97219760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 lIns="182880"/>
          <a:lstStyle>
            <a:lvl1pPr marL="0" indent="0">
              <a:buNone/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3562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6124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405309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92318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</a:t>
            </a:r>
            <a:r>
              <a:rPr lang="en-US" sz="686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Copyright</a:t>
            </a:r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68098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31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2284340" y="34589"/>
            <a:ext cx="309875" cy="6788823"/>
            <a:chOff x="12519377" y="-15171"/>
            <a:chExt cx="349955" cy="5130095"/>
          </a:xfrm>
        </p:grpSpPr>
        <p:sp>
          <p:nvSpPr>
            <p:cNvPr id="3" name="Rectangle 2"/>
            <p:cNvSpPr/>
            <p:nvPr userDrawn="1"/>
          </p:nvSpPr>
          <p:spPr bwMode="auto">
            <a:xfrm>
              <a:off x="12519377" y="-15171"/>
              <a:ext cx="349955" cy="620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 userDrawn="1"/>
          </p:nvSpPr>
          <p:spPr bwMode="auto">
            <a:xfrm>
              <a:off x="12519377" y="629001"/>
              <a:ext cx="349955" cy="62088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/>
            <p:cNvSpPr/>
            <p:nvPr userDrawn="1"/>
          </p:nvSpPr>
          <p:spPr bwMode="auto">
            <a:xfrm>
              <a:off x="12519377" y="1273173"/>
              <a:ext cx="349955" cy="620889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Rectangle 6"/>
            <p:cNvSpPr/>
            <p:nvPr userDrawn="1"/>
          </p:nvSpPr>
          <p:spPr bwMode="auto">
            <a:xfrm>
              <a:off x="12519377" y="1917345"/>
              <a:ext cx="349955" cy="620889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 7"/>
            <p:cNvSpPr/>
            <p:nvPr userDrawn="1"/>
          </p:nvSpPr>
          <p:spPr bwMode="auto">
            <a:xfrm>
              <a:off x="12519377" y="2561517"/>
              <a:ext cx="349955" cy="620889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Rectangle 8"/>
            <p:cNvSpPr/>
            <p:nvPr userDrawn="1"/>
          </p:nvSpPr>
          <p:spPr bwMode="auto">
            <a:xfrm>
              <a:off x="12519377" y="3205689"/>
              <a:ext cx="349955" cy="620889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Rectangle 9"/>
            <p:cNvSpPr/>
            <p:nvPr userDrawn="1"/>
          </p:nvSpPr>
          <p:spPr bwMode="auto">
            <a:xfrm>
              <a:off x="12519377" y="3849861"/>
              <a:ext cx="349955" cy="620889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Rectangle 10"/>
            <p:cNvSpPr/>
            <p:nvPr userDrawn="1"/>
          </p:nvSpPr>
          <p:spPr bwMode="auto">
            <a:xfrm>
              <a:off x="12519377" y="4494035"/>
              <a:ext cx="349955" cy="620889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189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accent2"/>
              </a:gs>
              <a:gs pos="100000">
                <a:schemeClr val="accent2"/>
              </a:gs>
            </a:gsLst>
            <a:lin ang="5400000" scaled="0"/>
          </a:gradFill>
          <a:effectLst/>
          <a:latin typeface="+mj-lt"/>
          <a:ea typeface="+mn-ea"/>
          <a:cs typeface="Segoe UI Semibold" panose="020B0702040204020203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3921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336145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2353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560241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961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784338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765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008435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765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2278098" y="0"/>
            <a:ext cx="1207922" cy="5548431"/>
            <a:chOff x="9646981" y="974725"/>
            <a:chExt cx="1207922" cy="5548431"/>
          </a:xfrm>
        </p:grpSpPr>
        <p:sp>
          <p:nvSpPr>
            <p:cNvPr id="5" name="Rectangle 4"/>
            <p:cNvSpPr/>
            <p:nvPr/>
          </p:nvSpPr>
          <p:spPr bwMode="auto">
            <a:xfrm>
              <a:off x="9646981" y="3761122"/>
              <a:ext cx="1191304" cy="920297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88826" bIns="88826" rtlCol="0" anchor="t" anchorCtr="0"/>
            <a:lstStyle/>
            <a:p>
              <a:pPr defTabSz="608143">
                <a:spcAft>
                  <a:spcPts val="987"/>
                </a:spcAft>
              </a:pPr>
              <a:r>
                <a:rPr lang="en-US" sz="8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charset="0"/>
                  <a:cs typeface="Segoe UI Semibold" panose="020B0702040204020203" pitchFamily="34" charset="0"/>
                </a:rPr>
                <a:t>Mid Gray</a:t>
              </a:r>
              <a:endParaRPr lang="en-US" sz="8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 defTabSz="608143"/>
              <a: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GB R115 G115 B115</a:t>
              </a:r>
              <a:b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x #737373</a:t>
              </a:r>
              <a:b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MYK C0 M0 Y0 K65</a:t>
              </a:r>
            </a:p>
            <a:p>
              <a:pPr defTabSz="608143"/>
              <a: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MS Cool Gray 9</a:t>
              </a: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9646981" y="4681419"/>
              <a:ext cx="1183430" cy="904290"/>
            </a:xfrm>
            <a:prstGeom prst="rect">
              <a:avLst/>
            </a:prstGeom>
            <a:solidFill>
              <a:srgbClr val="E6E6E6"/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1364" rIns="61364" rtlCol="0" anchor="t"/>
            <a:lstStyle/>
            <a:p>
              <a:pPr defTabSz="608143">
                <a:spcAft>
                  <a:spcPts val="987"/>
                </a:spcAft>
              </a:pPr>
              <a:r>
                <a:rPr lang="en-US" sz="800" b="1" dirty="0">
                  <a:solidFill>
                    <a:srgbClr val="505050"/>
                  </a:solidFill>
                  <a:latin typeface="Segoe UI Semibold" panose="020B0702040204020203" pitchFamily="34" charset="0"/>
                  <a:ea typeface="Segoe UI" charset="0"/>
                  <a:cs typeface="Segoe UI Semibold" panose="020B0702040204020203" pitchFamily="34" charset="0"/>
                </a:rPr>
                <a:t>Light Gray</a:t>
              </a:r>
            </a:p>
            <a:p>
              <a:pPr defTabSz="608143">
                <a:spcAft>
                  <a:spcPts val="987"/>
                </a:spcAft>
              </a:pPr>
              <a:r>
                <a:rPr lang="en-US" sz="800" dirty="0">
                  <a:solidFill>
                    <a:srgbClr val="505050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  <a:t>RGB R230 G230 B230</a:t>
              </a:r>
              <a:br>
                <a:rPr lang="en-US" sz="800" dirty="0">
                  <a:solidFill>
                    <a:srgbClr val="505050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</a:br>
              <a:r>
                <a:rPr lang="en-US" sz="800" dirty="0">
                  <a:solidFill>
                    <a:srgbClr val="505050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  <a:t>Hex #E6E6E6</a:t>
              </a:r>
              <a:br>
                <a:rPr lang="en-US" sz="800" dirty="0">
                  <a:solidFill>
                    <a:srgbClr val="505050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</a:br>
              <a:r>
                <a:rPr lang="en-US" sz="800" dirty="0">
                  <a:solidFill>
                    <a:srgbClr val="505050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  <a:t>CMYK C0 M0 Y0 K10</a:t>
              </a:r>
              <a:br>
                <a:rPr lang="en-US" sz="800" dirty="0">
                  <a:solidFill>
                    <a:srgbClr val="505050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</a:br>
              <a:r>
                <a:rPr lang="en-US" sz="800" dirty="0">
                  <a:solidFill>
                    <a:srgbClr val="505050"/>
                  </a:solidFill>
                  <a:latin typeface="Segoe UI Semilight" charset="0"/>
                  <a:ea typeface="Segoe UI Semilight" charset="0"/>
                  <a:cs typeface="Segoe UI Semilight" charset="0"/>
                </a:rPr>
                <a:t>PMS Cool Gray 1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9646981" y="2815319"/>
              <a:ext cx="1207922" cy="953717"/>
            </a:xfrm>
            <a:prstGeom prst="rect">
              <a:avLst/>
            </a:prstGeom>
            <a:solidFill>
              <a:srgbClr val="FFB900"/>
            </a:solidFill>
            <a:ln w="9525" cap="flat" cmpd="sng" algn="ctr">
              <a:noFill/>
              <a:prstDash val="solid"/>
            </a:ln>
            <a:effectLst/>
          </p:spPr>
          <p:txBody>
            <a:bodyPr lIns="61364" rIns="61364" rtlCol="0" anchor="t"/>
            <a:lstStyle/>
            <a:p>
              <a:pPr defTabSz="608143">
                <a:spcAft>
                  <a:spcPts val="987"/>
                </a:spcAft>
              </a:pPr>
              <a:r>
                <a:rPr lang="en-US" sz="800" b="1" dirty="0">
                  <a:solidFill>
                    <a:schemeClr val="bg2">
                      <a:lumMod val="10000"/>
                    </a:schemeClr>
                  </a:solidFill>
                  <a:latin typeface="Segoe UI Semibold" panose="020B0702040204020203" pitchFamily="34" charset="0"/>
                  <a:ea typeface="Segoe UI" charset="0"/>
                  <a:cs typeface="Segoe UI Semibold" panose="020B0702040204020203" pitchFamily="34" charset="0"/>
                </a:rPr>
                <a:t>Yellow</a:t>
              </a:r>
            </a:p>
            <a:p>
              <a:pPr defTabSz="608143"/>
              <a: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GB R255 G185 B0</a:t>
              </a:r>
              <a:b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x #FFB900</a:t>
              </a:r>
              <a:b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MYK C0 M25 Y100 K0</a:t>
              </a:r>
            </a:p>
            <a:p>
              <a:pPr defTabSz="608143"/>
              <a: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MS 124 C, 7406 U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9646981" y="5569439"/>
              <a:ext cx="1183430" cy="953717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</a:ln>
            <a:effectLst/>
          </p:spPr>
          <p:txBody>
            <a:bodyPr lIns="61364" rIns="61364" rtlCol="0" anchor="t"/>
            <a:lstStyle/>
            <a:p>
              <a:pPr defTabSz="608143">
                <a:spcAft>
                  <a:spcPts val="987"/>
                </a:spcAft>
              </a:pPr>
              <a:r>
                <a:rPr lang="en-US" sz="8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charset="0"/>
                  <a:cs typeface="Segoe UI Semibold" panose="020B0702040204020203" pitchFamily="34" charset="0"/>
                </a:rPr>
                <a:t>Blue</a:t>
              </a:r>
            </a:p>
            <a:p>
              <a:pPr defTabSz="608143"/>
              <a: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GB R0 G120 B215</a:t>
              </a:r>
              <a:b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x #0078D7</a:t>
              </a:r>
              <a:b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MYK C100 M30 Y0 K0</a:t>
              </a:r>
            </a:p>
            <a:p>
              <a:pPr defTabSz="608143"/>
              <a:r>
                <a:rPr lang="en-US" sz="80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MS 3005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9646981" y="1895022"/>
              <a:ext cx="1202399" cy="920297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88826" bIns="88826" rtlCol="0" anchor="t" anchorCtr="0"/>
            <a:lstStyle/>
            <a:p>
              <a:pPr defTabSz="608143">
                <a:spcAft>
                  <a:spcPts val="987"/>
                </a:spcAft>
              </a:pPr>
              <a:r>
                <a:rPr lang="en-US" sz="800" b="1" dirty="0">
                  <a:latin typeface="Segoe UI Semibold" panose="020B0702040204020203" pitchFamily="34" charset="0"/>
                  <a:ea typeface="Segoe UI" charset="0"/>
                  <a:cs typeface="Segoe UI Semibold" panose="020B0702040204020203" pitchFamily="34" charset="0"/>
                </a:rPr>
                <a:t>Dark Gray</a:t>
              </a:r>
            </a:p>
            <a:p>
              <a:pPr defTabSz="608143"/>
              <a:r>
                <a:rPr lang="en-US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GB R80 G80 B80</a:t>
              </a:r>
              <a:br>
                <a:rPr lang="en-US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x #505050</a:t>
              </a:r>
              <a:br>
                <a:rPr lang="en-US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MYK C0 M0 Y0 K80</a:t>
              </a:r>
            </a:p>
            <a:p>
              <a:pPr defTabSz="608143"/>
              <a:r>
                <a:rPr lang="en-US" sz="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MS Cool Gray 11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9646981" y="974725"/>
              <a:ext cx="1202398" cy="920297"/>
            </a:xfrm>
            <a:prstGeom prst="rect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</a:ln>
            <a:effectLst/>
          </p:spPr>
          <p:txBody>
            <a:bodyPr lIns="61364" rIns="61364" rtlCol="0" anchor="t"/>
            <a:lstStyle/>
            <a:p>
              <a:pPr defTabSz="608143">
                <a:spcAft>
                  <a:spcPts val="987"/>
                </a:spcAft>
              </a:pPr>
              <a:r>
                <a:rPr lang="en-US" sz="800" b="1" dirty="0">
                  <a:solidFill>
                    <a:schemeClr val="bg2">
                      <a:lumMod val="10000"/>
                    </a:schemeClr>
                  </a:solidFill>
                  <a:latin typeface="Segoe UI Semibold" panose="020B0702040204020203" pitchFamily="34" charset="0"/>
                  <a:ea typeface="Segoe UI" charset="0"/>
                  <a:cs typeface="Segoe UI Semibold" panose="020B0702040204020203" pitchFamily="34" charset="0"/>
                </a:rPr>
                <a:t>Light Blue</a:t>
              </a:r>
            </a:p>
            <a:p>
              <a:pPr defTabSz="608143"/>
              <a: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GB R0 G188 B242</a:t>
              </a:r>
              <a:b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x #00BCF2</a:t>
              </a:r>
              <a:b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MYK C100 M0 Y0 K0</a:t>
              </a:r>
            </a:p>
            <a:p>
              <a:pPr defTabSz="608143"/>
              <a:r>
                <a:rPr lang="en-US" sz="800" dirty="0">
                  <a:solidFill>
                    <a:schemeClr val="bg2">
                      <a:lumMod val="1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rocess Cy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163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Semilight" charset="0"/>
          <a:ea typeface="Segoe UI Semilight" charset="0"/>
          <a:cs typeface="Segoe UI Semilight" charset="0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b="0" i="0" kern="1200">
          <a:solidFill>
            <a:schemeClr val="tx1"/>
          </a:solidFill>
          <a:latin typeface="Segoe UI Semilight" charset="0"/>
          <a:ea typeface="Segoe UI Semilight" charset="0"/>
          <a:cs typeface="Segoe UI Semi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Semilight" charset="0"/>
          <a:ea typeface="Segoe UI Semilight" charset="0"/>
          <a:cs typeface="Segoe UI Semi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200" b="0" i="0" kern="1200">
          <a:solidFill>
            <a:schemeClr val="tx1"/>
          </a:solidFill>
          <a:latin typeface="Segoe UI Semilight" charset="0"/>
          <a:ea typeface="Segoe UI Semilight" charset="0"/>
          <a:cs typeface="Segoe UI Semi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000" b="0" i="0" kern="1200">
          <a:solidFill>
            <a:schemeClr val="tx1"/>
          </a:solidFill>
          <a:latin typeface="Segoe UI Semilight" charset="0"/>
          <a:ea typeface="Segoe UI Semilight" charset="0"/>
          <a:cs typeface="Segoe UI Semi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152">
          <p15:clr>
            <a:srgbClr val="F26B43"/>
          </p15:clr>
        </p15:guide>
        <p15:guide id="2" pos="528">
          <p15:clr>
            <a:srgbClr val="F26B43"/>
          </p15:clr>
        </p15:guide>
        <p15:guide id="3" pos="264">
          <p15:clr>
            <a:srgbClr val="F26B43"/>
          </p15:clr>
        </p15:guide>
        <p15:guide id="4" pos="741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797622-9F37-4EA7-BE11-CBB21AE67599}" type="datetimeFigureOut">
              <a:rPr lang="en-US" smtClean="0"/>
              <a:t>5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6AE140-EECE-49AA-965B-B5CFFE78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772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2284340" y="34589"/>
            <a:ext cx="309875" cy="6788823"/>
            <a:chOff x="12519377" y="-15171"/>
            <a:chExt cx="349955" cy="5130095"/>
          </a:xfrm>
        </p:grpSpPr>
        <p:sp>
          <p:nvSpPr>
            <p:cNvPr id="3" name="Rectangle 2"/>
            <p:cNvSpPr/>
            <p:nvPr userDrawn="1"/>
          </p:nvSpPr>
          <p:spPr bwMode="auto">
            <a:xfrm>
              <a:off x="12519377" y="-15171"/>
              <a:ext cx="349955" cy="620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 userDrawn="1"/>
          </p:nvSpPr>
          <p:spPr bwMode="auto">
            <a:xfrm>
              <a:off x="12519377" y="629001"/>
              <a:ext cx="349955" cy="62088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/>
            <p:cNvSpPr/>
            <p:nvPr userDrawn="1"/>
          </p:nvSpPr>
          <p:spPr bwMode="auto">
            <a:xfrm>
              <a:off x="12519377" y="1273173"/>
              <a:ext cx="349955" cy="620889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Rectangle 6"/>
            <p:cNvSpPr/>
            <p:nvPr userDrawn="1"/>
          </p:nvSpPr>
          <p:spPr bwMode="auto">
            <a:xfrm>
              <a:off x="12519377" y="1917345"/>
              <a:ext cx="349955" cy="620889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 7"/>
            <p:cNvSpPr/>
            <p:nvPr userDrawn="1"/>
          </p:nvSpPr>
          <p:spPr bwMode="auto">
            <a:xfrm>
              <a:off x="12519377" y="2561517"/>
              <a:ext cx="349955" cy="620889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Rectangle 8"/>
            <p:cNvSpPr/>
            <p:nvPr userDrawn="1"/>
          </p:nvSpPr>
          <p:spPr bwMode="auto">
            <a:xfrm>
              <a:off x="12519377" y="3205689"/>
              <a:ext cx="349955" cy="620889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Rectangle 9"/>
            <p:cNvSpPr/>
            <p:nvPr userDrawn="1"/>
          </p:nvSpPr>
          <p:spPr bwMode="auto">
            <a:xfrm>
              <a:off x="12519377" y="3849861"/>
              <a:ext cx="349955" cy="620889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Rectangle 10"/>
            <p:cNvSpPr/>
            <p:nvPr userDrawn="1"/>
          </p:nvSpPr>
          <p:spPr bwMode="auto">
            <a:xfrm>
              <a:off x="12519377" y="4494035"/>
              <a:ext cx="349955" cy="620889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258763" y="6149978"/>
            <a:ext cx="2620808" cy="561290"/>
          </a:xfrm>
          <a:prstGeom prst="rect">
            <a:avLst/>
          </a:prstGeom>
          <a:noFill/>
        </p:spPr>
        <p:txBody>
          <a:bodyPr wrap="none" lIns="179285" tIns="143428" rIns="89642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1961" dirty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Worldwide</a:t>
            </a:r>
            <a:r>
              <a:rPr lang="en-US" sz="1961" dirty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</a:rPr>
              <a:t> </a:t>
            </a:r>
            <a:r>
              <a:rPr lang="en-US" sz="1961" dirty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+mj-lt"/>
              </a:rPr>
              <a:t>Readiness</a:t>
            </a:r>
          </a:p>
        </p:txBody>
      </p:sp>
    </p:spTree>
    <p:extLst>
      <p:ext uri="{BB962C8B-B14F-4D97-AF65-F5344CB8AC3E}">
        <p14:creationId xmlns:p14="http://schemas.microsoft.com/office/powerpoint/2010/main" val="3821442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  <p:sldLayoutId id="2147483799" r:id="rId17"/>
    <p:sldLayoutId id="2147483800" r:id="rId18"/>
    <p:sldLayoutId id="2147483801" r:id="rId19"/>
    <p:sldLayoutId id="2147483802" r:id="rId20"/>
    <p:sldLayoutId id="2147483803" r:id="rId21"/>
    <p:sldLayoutId id="2147483804" r:id="rId22"/>
    <p:sldLayoutId id="2147483805" r:id="rId23"/>
    <p:sldLayoutId id="2147483806" r:id="rId24"/>
    <p:sldLayoutId id="2147483807" r:id="rId25"/>
    <p:sldLayoutId id="2147483808" r:id="rId26"/>
  </p:sldLayoutIdLst>
  <p:transition>
    <p:fade/>
  </p:transition>
  <p:hf sldNum="0"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2"/>
              </a:gs>
              <a:gs pos="100000">
                <a:schemeClr val="tx2"/>
              </a:gs>
            </a:gsLst>
            <a:lin ang="5400000" scaled="0"/>
          </a:gradFill>
          <a:effectLst/>
          <a:latin typeface="+mj-lt"/>
          <a:ea typeface="+mn-ea"/>
          <a:cs typeface="Segoe UI Semibold" panose="020B0702040204020203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3921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336145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2353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560241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961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784338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765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008435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1765" kern="1200" spc="0" baseline="0">
          <a:gradFill>
            <a:gsLst>
              <a:gs pos="1250">
                <a:schemeClr val="tx2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openedx.microsoft.com/" TargetMode="External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9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dx.org/" TargetMode="External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5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321" y="532719"/>
            <a:ext cx="11543795" cy="5590495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8497614" y="5793828"/>
            <a:ext cx="3034862" cy="3293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486895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4462373" y="1971541"/>
            <a:ext cx="2105940" cy="476236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306191" y="1971541"/>
            <a:ext cx="2105940" cy="476236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55795" y="1971541"/>
            <a:ext cx="2105940" cy="476236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986" y="2571"/>
            <a:ext cx="6476666" cy="899537"/>
          </a:xfrm>
        </p:spPr>
        <p:txBody>
          <a:bodyPr/>
          <a:lstStyle/>
          <a:p>
            <a:r>
              <a:rPr lang="en-US" dirty="0"/>
              <a:t>Open edX on Azure</a:t>
            </a:r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BA605-C888-4326-8417-118ADDBFD3D5}" type="slidenum">
              <a: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pPr marL="0" marR="0" lvl="0" indent="0" algn="r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6632461" y="592925"/>
          <a:ext cx="5544326" cy="6063086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646493">
                  <a:extLst>
                    <a:ext uri="{9D8B030D-6E8A-4147-A177-3AD203B41FA5}">
                      <a16:colId xmlns:a16="http://schemas.microsoft.com/office/drawing/2014/main" val="1375240551"/>
                    </a:ext>
                  </a:extLst>
                </a:gridCol>
                <a:gridCol w="2897833">
                  <a:extLst>
                    <a:ext uri="{9D8B030D-6E8A-4147-A177-3AD203B41FA5}">
                      <a16:colId xmlns:a16="http://schemas.microsoft.com/office/drawing/2014/main" val="2888947385"/>
                    </a:ext>
                  </a:extLst>
                </a:gridCol>
              </a:tblGrid>
              <a:tr h="29884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Cloud Administration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Data &amp; Analytic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17683042"/>
                  </a:ext>
                </a:extLst>
              </a:tr>
              <a:tr h="3974150">
                <a:tc>
                  <a:txBody>
                    <a:bodyPr/>
                    <a:lstStyle/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icrosoft Azure Fundamentals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icrosoft Azure for AWS Experts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icrosoft Azure Virtual Machines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icrosoft Azure Virtual Networks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icrosoft Azure Identity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icrosoft Azure Storage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Azure Security and Compliance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anaging Azure Workloads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Automating Azure Workloads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icrosoft Azure App Services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Databases in Azure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Azure Deployment and Management (3/31)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igrating Workloads on Azure (3/31) 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ing Big Data with Hadoop in Azure HDInsight </a:t>
                      </a:r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mported)</a:t>
                      </a:r>
                    </a:p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lementing Real-Time Analysis with Hadoop in Azure HDInsight (imported)</a:t>
                      </a:r>
                    </a:p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lementing Predictive Solutions with Spark in Azure HDInsight (imported)</a:t>
                      </a:r>
                    </a:p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ing Big Data with Azure Data Lake Analytics (imported)</a:t>
                      </a:r>
                    </a:p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ing Real-Time Data Streams in Azure (imported)</a:t>
                      </a:r>
                    </a:p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chestrating Big Data with Azure Data Factory (imported)</a:t>
                      </a:r>
                    </a:p>
                    <a:p>
                      <a:pPr marL="228600" marR="0" lvl="0" indent="-228600" algn="l" defTabSz="5086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ivering a Data Warehouse in the Cloud (2/15)</a:t>
                      </a:r>
                    </a:p>
                    <a:p>
                      <a:pPr marL="228600" marR="0" lvl="0" indent="-228600" algn="l" defTabSz="5086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ing NoSQL Solutions in Azure (03/01)</a:t>
                      </a:r>
                    </a:p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ing Big Data Solutions with Azure Machine Learning (3/31)</a:t>
                      </a:r>
                    </a:p>
                    <a:p>
                      <a:pPr marL="228600" marR="0" lvl="0" indent="-228600" algn="l" defTabSz="5086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sioning Databases in Azure and SQL Server (3/31)</a:t>
                      </a:r>
                    </a:p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overing Data in Azure and SQL Server (3/31)</a:t>
                      </a:r>
                    </a:p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ng Data in Azure and SQL Server (3/31)</a:t>
                      </a:r>
                    </a:p>
                    <a:p>
                      <a:pPr marL="228600" marR="0" lvl="0" indent="-22860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ing Organizational Data Sources with Azure Data Catalog (TBD)</a:t>
                      </a: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634163336"/>
                  </a:ext>
                </a:extLst>
              </a:tr>
              <a:tr h="317912">
                <a:tc>
                  <a:txBody>
                    <a:bodyPr/>
                    <a:lstStyle/>
                    <a:p>
                      <a:pPr marL="0" marR="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oud Development</a:t>
                      </a:r>
                    </a:p>
                  </a:txBody>
                  <a:tcPr marL="89642" marR="89642" marT="44821" marB="44821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08623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Ops</a:t>
                      </a:r>
                    </a:p>
                  </a:txBody>
                  <a:tcPr marL="89642" marR="89642" marT="44821" marB="44821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160140"/>
                  </a:ext>
                </a:extLst>
              </a:tr>
              <a:tr h="1472177">
                <a:tc>
                  <a:txBody>
                    <a:bodyPr/>
                    <a:lstStyle/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Developing </a:t>
                      </a:r>
                      <a:r>
                        <a:rPr lang="en-US" sz="1000" dirty="0" err="1">
                          <a:effectLst/>
                        </a:rPr>
                        <a:t>IoT</a:t>
                      </a:r>
                      <a:r>
                        <a:rPr lang="en-US" sz="1000" dirty="0">
                          <a:effectLst/>
                        </a:rPr>
                        <a:t> Solutions with Azure </a:t>
                      </a:r>
                      <a:r>
                        <a:rPr lang="en-US" sz="1000" dirty="0" err="1">
                          <a:effectLst/>
                        </a:rPr>
                        <a:t>IoT</a:t>
                      </a:r>
                      <a:r>
                        <a:rPr lang="en-US" sz="1000" dirty="0">
                          <a:effectLst/>
                        </a:rPr>
                        <a:t> Hub (April 2016)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Azure App Configuration (April 2016)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Creating an Angular Web App on Azure (June 2016)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Developing Azure App Service Components (June 2016)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</a:endParaRP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DevOps on Azure PaaS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Continuous Integration and Continuous Deployment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DevOps Testing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fr-CA" sz="1000" dirty="0">
                          <a:effectLst/>
                        </a:rPr>
                        <a:t>Infrastructure as Code (3/31)</a:t>
                      </a:r>
                      <a:endParaRPr lang="en-US" sz="1000" dirty="0">
                        <a:effectLst/>
                      </a:endParaRP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Configuration Management (3/31)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Mobile DevOps (3/31)</a:t>
                      </a:r>
                    </a:p>
                    <a:p>
                      <a:pPr marL="228600" marR="0" lvl="0" indent="-2286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000" dirty="0">
                          <a:effectLst/>
                        </a:rPr>
                        <a:t>Application Monitoring and Feedback Loops (3/31)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3747739550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90456" y="1984223"/>
            <a:ext cx="2036618" cy="2539157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F3F3F"/>
                    </a:gs>
                    <a:gs pos="30000">
                      <a:srgbClr val="3F3F3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dministration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Azure Fundamental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Azure for AWS Expert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Azure Virtual Machine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Azure Virtual Network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Azure Identity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Azure Storage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ecurity and Compliance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aging Azure Workload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utomating Azure Workload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Azure App Service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bases in Azure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3F3F3F"/>
                  </a:gs>
                  <a:gs pos="30000">
                    <a:srgbClr val="3F3F3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F3F3F"/>
                    </a:gs>
                    <a:gs pos="30000">
                      <a:srgbClr val="3F3F3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evOp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Ops on Azure Paa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tinuous Integration and Deployment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Ops Test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44374" y="1984223"/>
            <a:ext cx="2036618" cy="4907497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F3F3F"/>
                    </a:gs>
                    <a:gs pos="30000">
                      <a:srgbClr val="3F3F3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dministration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Deployment and Management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grating Workloads on Azure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3F3F3F"/>
                  </a:gs>
                  <a:gs pos="30000">
                    <a:srgbClr val="3F3F3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F3F3F"/>
                    </a:gs>
                    <a:gs pos="30000">
                      <a:srgbClr val="3F3F3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evOp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frastructure as Code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figuration Management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bile DevOp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lication Monitoring and Feedback Loop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3F3F3F"/>
                  </a:gs>
                  <a:gs pos="30000">
                    <a:srgbClr val="3F3F3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F3F3F"/>
                    </a:gs>
                    <a:gs pos="30000">
                      <a:srgbClr val="3F3F3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&amp; Analytic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cessing Big Data with Hadoop in Azure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plementing Real-Time Analysis with Hadoop in Azure HDInsight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plementing Predictive Solutions with Spark in Azure HDInsight</a:t>
            </a:r>
          </a:p>
          <a:p>
            <a:pPr marL="228600" marR="0" lvl="0" indent="-111125" algn="l" defTabSz="5086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cessing Big Data with Azure Data Lake Analytics</a:t>
            </a:r>
          </a:p>
          <a:p>
            <a:pPr marL="228600" marR="0" lvl="0" indent="-111125" algn="l" defTabSz="5086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cessing Real-Time Data Streams in Azure </a:t>
            </a:r>
          </a:p>
          <a:p>
            <a:pPr marL="228600" marR="0" lvl="0" indent="-111125" algn="l" defTabSz="5086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rchestrating Big Data with Azure Data Factory </a:t>
            </a:r>
          </a:p>
          <a:p>
            <a:pPr marL="228600" marR="0" lvl="0" indent="-111125" algn="l" defTabSz="5086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livering a Data Warehouse in the Cloud</a:t>
            </a:r>
          </a:p>
          <a:p>
            <a:pPr marL="228600" marR="0" lvl="0" indent="-111125" algn="l" defTabSz="5086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ing NoSQL Solutions in Azure</a:t>
            </a:r>
          </a:p>
          <a:p>
            <a:pPr marL="228600" marR="0" lvl="0" indent="-111125" algn="l" defTabSz="5086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ing Big Data Solutions with Azure Machine Learning</a:t>
            </a:r>
          </a:p>
          <a:p>
            <a:pPr marL="228600" marR="0" lvl="0" indent="-111125" algn="l" defTabSz="5086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visioning Databases in Azure and SQL Server</a:t>
            </a:r>
          </a:p>
          <a:p>
            <a:pPr marL="228600" marR="0" lvl="0" indent="-111125" algn="l" defTabSz="5086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covering Data in Azure and SQL Server </a:t>
            </a:r>
          </a:p>
          <a:p>
            <a:pPr marL="228600" marR="0" lvl="0" indent="-111125" algn="l" defTabSz="5086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curing Data in Azure and SQL Server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3F3F3F"/>
                  </a:gs>
                  <a:gs pos="30000">
                    <a:srgbClr val="3F3F3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97034" y="1984223"/>
            <a:ext cx="2036618" cy="1791260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F3F3F"/>
                    </a:gs>
                    <a:gs pos="30000">
                      <a:srgbClr val="3F3F3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&amp; Analytics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aging Organizational Data Sources with Azure Data Catalog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3F3F3F"/>
                  </a:gs>
                  <a:gs pos="30000">
                    <a:srgbClr val="3F3F3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F3F3F"/>
                    </a:gs>
                    <a:gs pos="30000">
                      <a:srgbClr val="3F3F3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Development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ing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o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Solutions with Azur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o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Hub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App Configuration 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reating an Angular Web App on Azure</a:t>
            </a:r>
          </a:p>
          <a:p>
            <a:pPr marL="228600" marR="0" lvl="0" indent="-1111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ing Azure App Service Components 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55795" y="1280546"/>
            <a:ext cx="2105940" cy="69099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ourses LIVE today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306191" y="1097280"/>
            <a:ext cx="2105940" cy="87426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oming in FY17 Q3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4462373" y="914791"/>
            <a:ext cx="2105940" cy="105675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oming in FY17 Q4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7658994" y="110168"/>
            <a:ext cx="3491259" cy="454434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Full FY17 Course Catalog</a:t>
            </a:r>
          </a:p>
        </p:txBody>
      </p:sp>
      <p:sp>
        <p:nvSpPr>
          <p:cNvPr id="5" name="Rectangle 4"/>
          <p:cNvSpPr/>
          <p:nvPr/>
        </p:nvSpPr>
        <p:spPr>
          <a:xfrm>
            <a:off x="190456" y="658750"/>
            <a:ext cx="3378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openedx.microsoft.co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697289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pecialized Certification</a:t>
            </a:r>
            <a:br>
              <a:rPr lang="en-US" dirty="0"/>
            </a:br>
            <a:r>
              <a:rPr lang="en-US" dirty="0"/>
              <a:t>Data Science MP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450388" y="6248400"/>
            <a:ext cx="2741612" cy="365125"/>
          </a:xfrm>
        </p:spPr>
        <p:txBody>
          <a:bodyPr/>
          <a:lstStyle/>
          <a:p>
            <a:fld id="{461BA605-C888-4326-8417-118ADDBFD3D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8272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1654187" cy="899537"/>
          </a:xfrm>
        </p:spPr>
        <p:txBody>
          <a:bodyPr>
            <a:normAutofit/>
          </a:bodyPr>
          <a:lstStyle/>
          <a:p>
            <a:r>
              <a:rPr lang="en-US" sz="3921" dirty="0"/>
              <a:t>What is the Microsoft Professional Program?</a:t>
            </a:r>
          </a:p>
        </p:txBody>
      </p:sp>
      <p:graphicFrame>
        <p:nvGraphicFramePr>
          <p:cNvPr id="2" name="Diagram 1"/>
          <p:cNvGraphicFramePr/>
          <p:nvPr>
            <p:extLst/>
          </p:nvPr>
        </p:nvGraphicFramePr>
        <p:xfrm>
          <a:off x="146758" y="1106968"/>
          <a:ext cx="3693652" cy="5661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 descr="A picture containing person, indoor, sitting, child&#10;&#10;Description generated with very high confidenc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550" y="1166419"/>
            <a:ext cx="8172450" cy="46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13773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pic>
        <p:nvPicPr>
          <p:cNvPr id="4" name="Picture 3" descr="A person looking at the camera&#10;&#10;Description generated with high confidence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04" r="15955" b="1"/>
          <a:stretch/>
        </p:blipFill>
        <p:spPr>
          <a:xfrm>
            <a:off x="5120640" y="1904281"/>
            <a:ext cx="6233160" cy="427268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How does MPP work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38200" y="1825625"/>
            <a:ext cx="3797807" cy="435133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Microsoft Professional Program curricula is available via: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icrosoft directly, in partnership w/ edX (academy.microsoft.com)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icrosoft’s commercial learning partners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Select academic institutions, in partnership with Microsoft</a:t>
            </a: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Courses are available via </a:t>
            </a:r>
            <a:r>
              <a:rPr lang="en-US" sz="2000" dirty="0">
                <a:solidFill>
                  <a:schemeClr val="tx1"/>
                </a:solidFill>
                <a:hlinkClick r:id="rId3"/>
              </a:rPr>
              <a:t>edx.org</a:t>
            </a:r>
            <a:r>
              <a:rPr lang="en-US" sz="2000" dirty="0">
                <a:solidFill>
                  <a:schemeClr val="tx1"/>
                </a:solidFill>
              </a:rPr>
              <a:t>, or via instances of Open edX running on Azure</a:t>
            </a:r>
          </a:p>
          <a:p>
            <a:pPr indent="-2286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18079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286395" y="547321"/>
            <a:ext cx="11470047" cy="3144100"/>
            <a:chOff x="323269" y="1392018"/>
            <a:chExt cx="11673865" cy="3627122"/>
          </a:xfrm>
        </p:grpSpPr>
        <p:cxnSp>
          <p:nvCxnSpPr>
            <p:cNvPr id="88" name="Straight Connector 87"/>
            <p:cNvCxnSpPr>
              <a:cxnSpLocks/>
            </p:cNvCxnSpPr>
            <p:nvPr/>
          </p:nvCxnSpPr>
          <p:spPr>
            <a:xfrm>
              <a:off x="767183" y="3658661"/>
              <a:ext cx="10550068" cy="0"/>
            </a:xfrm>
            <a:prstGeom prst="line">
              <a:avLst/>
            </a:prstGeom>
            <a:ln w="76200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/>
            <p:cNvGrpSpPr/>
            <p:nvPr/>
          </p:nvGrpSpPr>
          <p:grpSpPr>
            <a:xfrm>
              <a:off x="7428234" y="2265262"/>
              <a:ext cx="3066713" cy="2753878"/>
              <a:chOff x="7577185" y="2310188"/>
              <a:chExt cx="3128207" cy="2809098"/>
            </a:xfrm>
          </p:grpSpPr>
          <p:cxnSp>
            <p:nvCxnSpPr>
              <p:cNvPr id="115" name="Straight Connector 114"/>
              <p:cNvCxnSpPr>
                <a:stCxn id="82" idx="2"/>
                <a:endCxn id="97" idx="3"/>
              </p:cNvCxnSpPr>
              <p:nvPr/>
            </p:nvCxnSpPr>
            <p:spPr>
              <a:xfrm>
                <a:off x="7577185" y="3732322"/>
                <a:ext cx="3128207" cy="7895"/>
              </a:xfrm>
              <a:prstGeom prst="line">
                <a:avLst/>
              </a:prstGeom>
              <a:ln w="76200">
                <a:solidFill>
                  <a:schemeClr val="accent3">
                    <a:lumMod val="90000"/>
                    <a:lumOff val="10000"/>
                  </a:schemeClr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Rectangle 82"/>
              <p:cNvSpPr/>
              <p:nvPr/>
            </p:nvSpPr>
            <p:spPr>
              <a:xfrm flipH="1">
                <a:off x="7949523" y="4624295"/>
                <a:ext cx="1031186" cy="434615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88F">
                        <a:lumMod val="5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OGRAMMING WITH PYTHON FOR DATA SCIENCE</a:t>
                </a:r>
              </a:p>
            </p:txBody>
          </p:sp>
          <p:sp>
            <p:nvSpPr>
              <p:cNvPr id="96" name="Rounded Rectangle 95"/>
              <p:cNvSpPr/>
              <p:nvPr/>
            </p:nvSpPr>
            <p:spPr bwMode="auto">
              <a:xfrm>
                <a:off x="8030776" y="3044892"/>
                <a:ext cx="868680" cy="1371600"/>
              </a:xfrm>
              <a:prstGeom prst="roundRect">
                <a:avLst/>
              </a:prstGeom>
              <a:solidFill>
                <a:srgbClr val="F8F8F8"/>
              </a:solidFill>
              <a:ln w="76200">
                <a:solidFill>
                  <a:schemeClr val="accent3">
                    <a:lumMod val="90000"/>
                    <a:lumOff val="10000"/>
                  </a:schemeClr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Rounded Rectangle 96"/>
              <p:cNvSpPr/>
              <p:nvPr/>
            </p:nvSpPr>
            <p:spPr bwMode="auto">
              <a:xfrm>
                <a:off x="9277594" y="2825817"/>
                <a:ext cx="1427798" cy="1828800"/>
              </a:xfrm>
              <a:prstGeom prst="roundRect">
                <a:avLst/>
              </a:prstGeom>
              <a:noFill/>
              <a:ln w="76200">
                <a:solidFill>
                  <a:schemeClr val="accent3">
                    <a:lumMod val="90000"/>
                    <a:lumOff val="10000"/>
                  </a:schemeClr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8" name="Oval 97"/>
              <p:cNvSpPr/>
              <p:nvPr/>
            </p:nvSpPr>
            <p:spPr bwMode="auto">
              <a:xfrm flipH="1">
                <a:off x="9869210" y="3615746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3">
                    <a:lumMod val="90000"/>
                    <a:lumOff val="1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0" name="Oval 99"/>
              <p:cNvSpPr/>
              <p:nvPr/>
            </p:nvSpPr>
            <p:spPr bwMode="auto">
              <a:xfrm flipH="1">
                <a:off x="8348541" y="2929132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3">
                    <a:lumMod val="90000"/>
                    <a:lumOff val="1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1" name="Oval 100"/>
              <p:cNvSpPr/>
              <p:nvPr/>
            </p:nvSpPr>
            <p:spPr bwMode="auto">
              <a:xfrm flipH="1">
                <a:off x="8348541" y="4300569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3">
                    <a:lumMod val="90000"/>
                    <a:lumOff val="1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2" name="Oval 101"/>
              <p:cNvSpPr/>
              <p:nvPr/>
            </p:nvSpPr>
            <p:spPr bwMode="auto">
              <a:xfrm flipH="1">
                <a:off x="9869210" y="2700532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3">
                    <a:lumMod val="90000"/>
                    <a:lumOff val="1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8" name="Rectangle 107"/>
              <p:cNvSpPr/>
              <p:nvPr/>
            </p:nvSpPr>
            <p:spPr>
              <a:xfrm flipH="1">
                <a:off x="7949523" y="2360289"/>
                <a:ext cx="1031186" cy="434615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88F">
                        <a:lumMod val="5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OGRAMMING WITH R FOR DATA SCIENCE</a:t>
                </a:r>
              </a:p>
            </p:txBody>
          </p:sp>
          <p:sp>
            <p:nvSpPr>
              <p:cNvPr id="110" name="Rectangle 109"/>
              <p:cNvSpPr/>
              <p:nvPr/>
            </p:nvSpPr>
            <p:spPr>
              <a:xfrm flipH="1">
                <a:off x="9277594" y="2310188"/>
                <a:ext cx="1427798" cy="289743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88F">
                        <a:lumMod val="5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APPLIED MACHINE LEARNING SCENARIOS</a:t>
                </a:r>
              </a:p>
            </p:txBody>
          </p:sp>
          <p:sp>
            <p:nvSpPr>
              <p:cNvPr id="111" name="Rectangle 110"/>
              <p:cNvSpPr/>
              <p:nvPr/>
            </p:nvSpPr>
            <p:spPr>
              <a:xfrm flipH="1">
                <a:off x="9277593" y="4829543"/>
                <a:ext cx="1427798" cy="289743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88F">
                        <a:lumMod val="5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DEVELOPING INTELLIGENT APPLICATIONS</a:t>
                </a:r>
              </a:p>
            </p:txBody>
          </p:sp>
          <p:sp>
            <p:nvSpPr>
              <p:cNvPr id="113" name="Rectangle 112"/>
              <p:cNvSpPr/>
              <p:nvPr/>
            </p:nvSpPr>
            <p:spPr>
              <a:xfrm flipH="1">
                <a:off x="9545351" y="3896930"/>
                <a:ext cx="908886" cy="271634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88F">
                        <a:lumMod val="50000"/>
                      </a:srgb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IMPLEMENTING PREDICTIVE MODELS WITH SPARK IN AZURE HDINSIGHT</a:t>
                </a:r>
              </a:p>
            </p:txBody>
          </p:sp>
          <p:sp>
            <p:nvSpPr>
              <p:cNvPr id="72" name="Oval 71"/>
              <p:cNvSpPr/>
              <p:nvPr/>
            </p:nvSpPr>
            <p:spPr bwMode="auto">
              <a:xfrm flipH="1">
                <a:off x="9869210" y="4530166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3">
                    <a:lumMod val="90000"/>
                    <a:lumOff val="1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17" name="Rectangle 116"/>
            <p:cNvSpPr/>
            <p:nvPr/>
          </p:nvSpPr>
          <p:spPr>
            <a:xfrm flipH="1">
              <a:off x="4868688" y="1395692"/>
              <a:ext cx="1882492" cy="383465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anchor="t" anchorCtr="0">
              <a:spAutoFit/>
            </a:bodyPr>
            <a:lstStyle/>
            <a:p>
              <a:pPr marL="0" marR="0" lvl="0" indent="0" algn="ctr" defTabSz="9325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RE DATA</a:t>
              </a:r>
            </a:p>
            <a:p>
              <a:pPr marL="0" marR="0" lvl="0" indent="0" algn="ctr" defTabSz="9325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CIENCE</a:t>
              </a:r>
            </a:p>
          </p:txBody>
        </p:sp>
        <p:sp>
          <p:nvSpPr>
            <p:cNvPr id="118" name="Rectangle 117"/>
            <p:cNvSpPr/>
            <p:nvPr/>
          </p:nvSpPr>
          <p:spPr>
            <a:xfrm flipH="1">
              <a:off x="1366272" y="1504314"/>
              <a:ext cx="1882492" cy="213036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anchor="t" anchorCtr="0">
              <a:spAutoFit/>
            </a:bodyPr>
            <a:lstStyle/>
            <a:p>
              <a:pPr marL="0" marR="0" lvl="0" indent="0" algn="ctr" defTabSz="932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188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UNDAMENTALS</a:t>
              </a:r>
            </a:p>
          </p:txBody>
        </p:sp>
        <p:sp>
          <p:nvSpPr>
            <p:cNvPr id="134" name="Rectangle 133"/>
            <p:cNvSpPr/>
            <p:nvPr/>
          </p:nvSpPr>
          <p:spPr>
            <a:xfrm flipH="1">
              <a:off x="8298710" y="1395692"/>
              <a:ext cx="1882492" cy="383465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anchor="t" anchorCtr="0">
              <a:spAutoFit/>
            </a:bodyPr>
            <a:lstStyle/>
            <a:p>
              <a:pPr marL="0" marR="0" lvl="0" indent="0" algn="ctr" defTabSz="9325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LIED</a:t>
              </a:r>
            </a:p>
            <a:p>
              <a:pPr marL="0" marR="0" lvl="0" indent="0" algn="ctr" defTabSz="9325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ATA SCIENCE</a:t>
              </a: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771482" y="2155971"/>
              <a:ext cx="3072074" cy="2803978"/>
              <a:chOff x="786951" y="2198706"/>
              <a:chExt cx="3133675" cy="2860204"/>
            </a:xfrm>
          </p:grpSpPr>
          <p:cxnSp>
            <p:nvCxnSpPr>
              <p:cNvPr id="68" name="Straight Connector 67"/>
              <p:cNvCxnSpPr>
                <a:endCxn id="92" idx="3"/>
              </p:cNvCxnSpPr>
              <p:nvPr/>
            </p:nvCxnSpPr>
            <p:spPr>
              <a:xfrm flipV="1">
                <a:off x="786951" y="3730692"/>
                <a:ext cx="3052422" cy="1629"/>
              </a:xfrm>
              <a:prstGeom prst="line">
                <a:avLst/>
              </a:prstGeom>
              <a:ln w="76200">
                <a:solidFill>
                  <a:schemeClr val="accent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8"/>
              <p:cNvSpPr/>
              <p:nvPr/>
            </p:nvSpPr>
            <p:spPr bwMode="auto">
              <a:xfrm flipH="1">
                <a:off x="1286669" y="3615746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 bwMode="auto">
              <a:xfrm flipH="1">
                <a:off x="2290522" y="3615746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7" name="Rectangle 86"/>
              <p:cNvSpPr/>
              <p:nvPr/>
            </p:nvSpPr>
            <p:spPr>
              <a:xfrm flipH="1">
                <a:off x="2904857" y="4624295"/>
                <a:ext cx="1000352" cy="434615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88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ANALYZING AND VISUALIZING DATA WITH POWER BI</a:t>
                </a:r>
              </a:p>
            </p:txBody>
          </p:sp>
          <p:sp>
            <p:nvSpPr>
              <p:cNvPr id="89" name="Rectangle 88"/>
              <p:cNvSpPr/>
              <p:nvPr/>
            </p:nvSpPr>
            <p:spPr>
              <a:xfrm flipH="1">
                <a:off x="1920231" y="3963605"/>
                <a:ext cx="975296" cy="434615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88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QUERYING DATA WITH TRANSACT-SQL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 flipH="1">
                <a:off x="910732" y="3963605"/>
                <a:ext cx="1000352" cy="289743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88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DATA SCIENCE ORIENTATION</a:t>
                </a:r>
              </a:p>
            </p:txBody>
          </p:sp>
          <p:sp>
            <p:nvSpPr>
              <p:cNvPr id="92" name="Rounded Rectangle 91"/>
              <p:cNvSpPr/>
              <p:nvPr/>
            </p:nvSpPr>
            <p:spPr bwMode="auto">
              <a:xfrm>
                <a:off x="2970693" y="3044892"/>
                <a:ext cx="868680" cy="1371600"/>
              </a:xfrm>
              <a:prstGeom prst="roundRect">
                <a:avLst/>
              </a:prstGeom>
              <a:solidFill>
                <a:srgbClr val="F8F8F8"/>
              </a:solidFill>
              <a:ln w="76200">
                <a:solidFill>
                  <a:schemeClr val="accent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4" name="Oval 93"/>
              <p:cNvSpPr/>
              <p:nvPr/>
            </p:nvSpPr>
            <p:spPr bwMode="auto">
              <a:xfrm flipH="1">
                <a:off x="3288458" y="2929132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4" name="Oval 103"/>
              <p:cNvSpPr/>
              <p:nvPr/>
            </p:nvSpPr>
            <p:spPr bwMode="auto">
              <a:xfrm flipH="1">
                <a:off x="3288458" y="4300569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9" name="Rectangle 108"/>
              <p:cNvSpPr/>
              <p:nvPr/>
            </p:nvSpPr>
            <p:spPr>
              <a:xfrm flipH="1">
                <a:off x="2889440" y="2198706"/>
                <a:ext cx="1031186" cy="434615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88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ANALYZING AND VISUALIZING DATA WITH EXCEL</a:t>
                </a: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3797472" y="2314378"/>
              <a:ext cx="4024924" cy="2645572"/>
              <a:chOff x="3873619" y="2360289"/>
              <a:chExt cx="4105632" cy="2698621"/>
            </a:xfrm>
          </p:grpSpPr>
          <p:cxnSp>
            <p:nvCxnSpPr>
              <p:cNvPr id="81" name="Straight Connector 80"/>
              <p:cNvCxnSpPr>
                <a:endCxn id="82" idx="2"/>
              </p:cNvCxnSpPr>
              <p:nvPr/>
            </p:nvCxnSpPr>
            <p:spPr>
              <a:xfrm flipV="1">
                <a:off x="3873619" y="3732322"/>
                <a:ext cx="3703566" cy="3672"/>
              </a:xfrm>
              <a:prstGeom prst="line">
                <a:avLst/>
              </a:prstGeom>
              <a:ln w="76200">
                <a:solidFill>
                  <a:srgbClr val="C00000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Oval 76"/>
              <p:cNvSpPr/>
              <p:nvPr/>
            </p:nvSpPr>
            <p:spPr bwMode="auto">
              <a:xfrm flipH="1">
                <a:off x="4349892" y="3615746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rgbClr val="C0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 bwMode="auto">
              <a:xfrm flipH="1">
                <a:off x="6340181" y="3615746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rgbClr val="C0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5" name="Rectangle 84"/>
              <p:cNvSpPr/>
              <p:nvPr/>
            </p:nvSpPr>
            <p:spPr>
              <a:xfrm flipH="1">
                <a:off x="6948065" y="3963605"/>
                <a:ext cx="1031186" cy="289743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INCIPLES OF MACHINE LEARNING</a:t>
                </a:r>
              </a:p>
            </p:txBody>
          </p:sp>
          <p:sp>
            <p:nvSpPr>
              <p:cNvPr id="86" name="Rectangle 85"/>
              <p:cNvSpPr/>
              <p:nvPr/>
            </p:nvSpPr>
            <p:spPr>
              <a:xfrm flipH="1">
                <a:off x="3939283" y="3963605"/>
                <a:ext cx="1000352" cy="289743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INTRODUCTION TO STATISTICS</a:t>
                </a:r>
              </a:p>
            </p:txBody>
          </p:sp>
          <p:sp>
            <p:nvSpPr>
              <p:cNvPr id="95" name="Rounded Rectangle 94"/>
              <p:cNvSpPr/>
              <p:nvPr/>
            </p:nvSpPr>
            <p:spPr bwMode="auto">
              <a:xfrm>
                <a:off x="5015418" y="3044892"/>
                <a:ext cx="868680" cy="1371600"/>
              </a:xfrm>
              <a:prstGeom prst="roundRect">
                <a:avLst/>
              </a:prstGeom>
              <a:solidFill>
                <a:srgbClr val="F8F8F8"/>
              </a:solidFill>
              <a:ln w="76200">
                <a:solidFill>
                  <a:srgbClr val="C0000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9" name="Oval 98"/>
              <p:cNvSpPr/>
              <p:nvPr/>
            </p:nvSpPr>
            <p:spPr bwMode="auto">
              <a:xfrm flipH="1">
                <a:off x="5333183" y="2929132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rgbClr val="C0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5" name="Oval 104"/>
              <p:cNvSpPr/>
              <p:nvPr/>
            </p:nvSpPr>
            <p:spPr bwMode="auto">
              <a:xfrm flipH="1">
                <a:off x="5335489" y="4300569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rgbClr val="C0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6" name="Rectangle 105"/>
              <p:cNvSpPr/>
              <p:nvPr/>
            </p:nvSpPr>
            <p:spPr>
              <a:xfrm flipH="1">
                <a:off x="4936471" y="2360289"/>
                <a:ext cx="1031186" cy="289743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INTRODUCTION TO R FOR DATA SCIENCE</a:t>
                </a:r>
              </a:p>
            </p:txBody>
          </p:sp>
          <p:sp>
            <p:nvSpPr>
              <p:cNvPr id="107" name="Rectangle 106"/>
              <p:cNvSpPr/>
              <p:nvPr/>
            </p:nvSpPr>
            <p:spPr>
              <a:xfrm flipH="1">
                <a:off x="4936471" y="4624295"/>
                <a:ext cx="1031186" cy="434615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INTRODUCTION TO PYTHON FOR DATA SCIENCE</a:t>
                </a:r>
              </a:p>
            </p:txBody>
          </p:sp>
          <p:sp>
            <p:nvSpPr>
              <p:cNvPr id="112" name="Rectangle 111"/>
              <p:cNvSpPr/>
              <p:nvPr/>
            </p:nvSpPr>
            <p:spPr>
              <a:xfrm flipH="1">
                <a:off x="5931737" y="3963605"/>
                <a:ext cx="1031186" cy="289743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DATA SCIENCE ESSENTIALS</a:t>
                </a:r>
              </a:p>
            </p:txBody>
          </p:sp>
          <p:sp>
            <p:nvSpPr>
              <p:cNvPr id="82" name="Oval 81"/>
              <p:cNvSpPr/>
              <p:nvPr/>
            </p:nvSpPr>
            <p:spPr bwMode="auto">
              <a:xfrm flipH="1">
                <a:off x="7344034" y="3615746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rgbClr val="C0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19" name="Oval 118"/>
            <p:cNvSpPr/>
            <p:nvPr/>
          </p:nvSpPr>
          <p:spPr bwMode="auto">
            <a:xfrm flipH="1">
              <a:off x="323269" y="3435332"/>
              <a:ext cx="448213" cy="448213"/>
            </a:xfrm>
            <a:prstGeom prst="ellipse">
              <a:avLst/>
            </a:prstGeom>
            <a:solidFill>
              <a:schemeClr val="bg1"/>
            </a:solidFill>
            <a:ln w="66675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11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0384856" y="3545163"/>
              <a:ext cx="1612278" cy="663185"/>
              <a:chOff x="10593092" y="3615746"/>
              <a:chExt cx="1644608" cy="676482"/>
            </a:xfrm>
          </p:grpSpPr>
          <p:sp>
            <p:nvSpPr>
              <p:cNvPr id="84" name="Rectangle 83"/>
              <p:cNvSpPr/>
              <p:nvPr/>
            </p:nvSpPr>
            <p:spPr>
              <a:xfrm flipH="1">
                <a:off x="11322385" y="4147356"/>
                <a:ext cx="915315" cy="144872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CAPSTONE EVENT</a:t>
                </a:r>
              </a:p>
            </p:txBody>
          </p:sp>
          <p:sp>
            <p:nvSpPr>
              <p:cNvPr id="93" name="Oval 92"/>
              <p:cNvSpPr/>
              <p:nvPr/>
            </p:nvSpPr>
            <p:spPr bwMode="auto">
              <a:xfrm flipH="1">
                <a:off x="10593092" y="3615746"/>
                <a:ext cx="233151" cy="233151"/>
              </a:xfrm>
              <a:prstGeom prst="ellipse">
                <a:avLst/>
              </a:prstGeom>
              <a:solidFill>
                <a:schemeClr val="bg1"/>
              </a:solidFill>
              <a:ln w="53975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73" name="Straight Connector 72"/>
              <p:cNvCxnSpPr>
                <a:cxnSpLocks/>
              </p:cNvCxnSpPr>
              <p:nvPr/>
            </p:nvCxnSpPr>
            <p:spPr>
              <a:xfrm>
                <a:off x="10839845" y="3731694"/>
                <a:ext cx="842061" cy="1"/>
              </a:xfrm>
              <a:prstGeom prst="line">
                <a:avLst/>
              </a:prstGeom>
              <a:ln w="762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5" name="Rectangle 134"/>
            <p:cNvSpPr/>
            <p:nvPr/>
          </p:nvSpPr>
          <p:spPr>
            <a:xfrm flipH="1">
              <a:off x="10098713" y="1392018"/>
              <a:ext cx="1882492" cy="191732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anchor="t" anchorCtr="0">
              <a:spAutoFit/>
            </a:bodyPr>
            <a:lstStyle/>
            <a:p>
              <a:pPr marL="0" marR="0" lvl="0" indent="0" algn="r" defTabSz="9325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OJECT</a:t>
              </a: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1099745" y="2815954"/>
              <a:ext cx="811943" cy="1067595"/>
              <a:chOff x="11322323" y="2871920"/>
              <a:chExt cx="828225" cy="1089001"/>
            </a:xfrm>
          </p:grpSpPr>
          <p:sp>
            <p:nvSpPr>
              <p:cNvPr id="121" name="Rectangle 120"/>
              <p:cNvSpPr/>
              <p:nvPr/>
            </p:nvSpPr>
            <p:spPr>
              <a:xfrm flipH="1">
                <a:off x="11322323" y="2871920"/>
                <a:ext cx="828225" cy="570432"/>
              </a:xfrm>
              <a:prstGeom prst="rect">
                <a:avLst/>
              </a:prstGeom>
            </p:spPr>
            <p:txBody>
              <a:bodyPr vert="horz" wrap="square" lIns="0" tIns="0" rIns="0" bIns="0" anchor="t" anchorCtr="0">
                <a:spAutoFit/>
              </a:bodyPr>
              <a:lstStyle/>
              <a:p>
                <a:pPr marL="0" marR="0" lvl="0" indent="0" algn="ctr" defTabSz="9325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Certificate of Completion</a:t>
                </a:r>
              </a:p>
            </p:txBody>
          </p:sp>
          <p:sp>
            <p:nvSpPr>
              <p:cNvPr id="122" name="Oval 121"/>
              <p:cNvSpPr/>
              <p:nvPr/>
            </p:nvSpPr>
            <p:spPr bwMode="auto">
              <a:xfrm flipH="1">
                <a:off x="11548570" y="3503721"/>
                <a:ext cx="457200" cy="457200"/>
              </a:xfrm>
              <a:prstGeom prst="ellipse">
                <a:avLst/>
              </a:prstGeom>
              <a:solidFill>
                <a:schemeClr val="bg1"/>
              </a:solidFill>
              <a:ln w="66675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462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71" name="Title 1"/>
          <p:cNvSpPr>
            <a:spLocks noGrp="1"/>
          </p:cNvSpPr>
          <p:nvPr>
            <p:ph type="title"/>
          </p:nvPr>
        </p:nvSpPr>
        <p:spPr>
          <a:xfrm>
            <a:off x="286396" y="39210"/>
            <a:ext cx="11654187" cy="508110"/>
          </a:xfrm>
        </p:spPr>
        <p:txBody>
          <a:bodyPr>
            <a:normAutofit/>
          </a:bodyPr>
          <a:lstStyle/>
          <a:p>
            <a:r>
              <a:rPr lang="en-US" sz="2800" cap="all" spc="294" dirty="0">
                <a:latin typeface="+mn-lt"/>
                <a:cs typeface="Segoe UI Semibold" panose="020B0702040204020203" pitchFamily="34" charset="0"/>
              </a:rPr>
              <a:t>Data Science</a:t>
            </a:r>
            <a:r>
              <a:rPr lang="en-US" sz="2800" cap="all" spc="294" dirty="0">
                <a:cs typeface="Segoe UI Semibold" panose="020B0702040204020203" pitchFamily="34" charset="0"/>
              </a:rPr>
              <a:t> Track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220864" y="4437333"/>
            <a:ext cx="915248" cy="531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ow the Microsoft Data Science program works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578833" y="5240277"/>
            <a:ext cx="10954207" cy="0"/>
          </a:xfrm>
          <a:prstGeom prst="line">
            <a:avLst/>
          </a:prstGeom>
          <a:ln w="57150">
            <a:solidFill>
              <a:schemeClr val="accent2"/>
            </a:solidFill>
            <a:headEnd type="none"/>
            <a:tailEnd type="non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5" name="Rectangle: Rounded Corners 24"/>
          <p:cNvSpPr/>
          <p:nvPr/>
        </p:nvSpPr>
        <p:spPr bwMode="auto">
          <a:xfrm>
            <a:off x="93669" y="4508127"/>
            <a:ext cx="1087019" cy="405221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main / Functional</a:t>
            </a:r>
          </a:p>
        </p:txBody>
      </p:sp>
      <p:sp>
        <p:nvSpPr>
          <p:cNvPr id="76" name="Rectangle: Rounded Corners 75"/>
          <p:cNvSpPr/>
          <p:nvPr/>
        </p:nvSpPr>
        <p:spPr bwMode="auto">
          <a:xfrm>
            <a:off x="102811" y="5430068"/>
            <a:ext cx="1087019" cy="40522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chnical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193436" y="5375946"/>
            <a:ext cx="915248" cy="861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exploration and visualization techniques 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atistics with the Excel Data Analysis Pack</a:t>
            </a:r>
          </a:p>
        </p:txBody>
      </p:sp>
      <p:sp>
        <p:nvSpPr>
          <p:cNvPr id="79" name="Rectangle 78"/>
          <p:cNvSpPr/>
          <p:nvPr/>
        </p:nvSpPr>
        <p:spPr>
          <a:xfrm>
            <a:off x="2255527" y="4491188"/>
            <a:ext cx="915248" cy="421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DBM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base Design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DL, DML</a:t>
            </a:r>
          </a:p>
        </p:txBody>
      </p:sp>
      <p:sp>
        <p:nvSpPr>
          <p:cNvPr id="80" name="Rectangle 79"/>
          <p:cNvSpPr/>
          <p:nvPr/>
        </p:nvSpPr>
        <p:spPr>
          <a:xfrm>
            <a:off x="2228099" y="5360650"/>
            <a:ext cx="915248" cy="641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-SQL Language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Manipulation in SQL Server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</p:txBody>
      </p:sp>
      <p:sp>
        <p:nvSpPr>
          <p:cNvPr id="91" name="Rectangle 90"/>
          <p:cNvSpPr/>
          <p:nvPr/>
        </p:nvSpPr>
        <p:spPr>
          <a:xfrm>
            <a:off x="3290191" y="4383480"/>
            <a:ext cx="915248" cy="641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form Data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shup Data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Modelling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Visualization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3262762" y="5370846"/>
            <a:ext cx="915248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cel Data Tool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X Engine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wer BI Cloud Service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shboard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atural Language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4324854" y="4491187"/>
            <a:ext cx="915248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Classification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yseian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Model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inear Regression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4297426" y="5350453"/>
            <a:ext cx="915248" cy="641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Visualization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dition Probability using Tools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5359517" y="4491187"/>
            <a:ext cx="915248" cy="751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 for Data Analysi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Structure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ustom Plot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Frame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trol Flow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5332089" y="5355551"/>
            <a:ext cx="915248" cy="413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ython Language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 Syntax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isualization</a:t>
            </a:r>
          </a:p>
        </p:txBody>
      </p:sp>
      <p:sp>
        <p:nvSpPr>
          <p:cNvPr id="124" name="Rectangle 123"/>
          <p:cNvSpPr/>
          <p:nvPr/>
        </p:nvSpPr>
        <p:spPr>
          <a:xfrm>
            <a:off x="6394181" y="4491187"/>
            <a:ext cx="9152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Science Proces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bability and Statistic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6366753" y="5335158"/>
            <a:ext cx="915248" cy="751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ML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Visualization and Exploration with R / Python and Azure ML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7428843" y="4491186"/>
            <a:ext cx="915248" cy="531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lassification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ression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lustering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delling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7401415" y="5365749"/>
            <a:ext cx="915248" cy="312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ML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 / Python </a:t>
            </a:r>
          </a:p>
        </p:txBody>
      </p:sp>
      <p:sp>
        <p:nvSpPr>
          <p:cNvPr id="129" name="Rectangle 128"/>
          <p:cNvSpPr/>
          <p:nvPr/>
        </p:nvSpPr>
        <p:spPr>
          <a:xfrm>
            <a:off x="8463506" y="4491187"/>
            <a:ext cx="915248" cy="641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trol Flow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reating Visualizations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dictive Analysis</a:t>
            </a:r>
          </a:p>
        </p:txBody>
      </p:sp>
      <p:sp>
        <p:nvSpPr>
          <p:cNvPr id="132" name="Rectangle 131"/>
          <p:cNvSpPr/>
          <p:nvPr/>
        </p:nvSpPr>
        <p:spPr>
          <a:xfrm>
            <a:off x="8436078" y="5340256"/>
            <a:ext cx="915248" cy="521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ython Language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ciKit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-Learn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isualizations with ggplot2</a:t>
            </a:r>
          </a:p>
        </p:txBody>
      </p:sp>
      <p:sp>
        <p:nvSpPr>
          <p:cNvPr id="133" name="Rectangle 132"/>
          <p:cNvSpPr/>
          <p:nvPr/>
        </p:nvSpPr>
        <p:spPr>
          <a:xfrm>
            <a:off x="9498168" y="4491186"/>
            <a:ext cx="915248" cy="531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ime Series and Forecasting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patial Data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xt Analytics</a:t>
            </a:r>
          </a:p>
        </p:txBody>
      </p:sp>
      <p:sp>
        <p:nvSpPr>
          <p:cNvPr id="136" name="Rectangle 135"/>
          <p:cNvSpPr/>
          <p:nvPr/>
        </p:nvSpPr>
        <p:spPr>
          <a:xfrm>
            <a:off x="9470740" y="5345355"/>
            <a:ext cx="915248" cy="421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QL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</a:t>
            </a:r>
          </a:p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ython / R</a:t>
            </a: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3769" y="3395856"/>
            <a:ext cx="805112" cy="419329"/>
          </a:xfrm>
          <a:prstGeom prst="rect">
            <a:avLst/>
          </a:prstGeom>
        </p:spPr>
      </p:pic>
      <p:sp>
        <p:nvSpPr>
          <p:cNvPr id="130" name="Freeform 5"/>
          <p:cNvSpPr>
            <a:spLocks noChangeAspect="1" noEditPoints="1"/>
          </p:cNvSpPr>
          <p:nvPr/>
        </p:nvSpPr>
        <p:spPr bwMode="black">
          <a:xfrm>
            <a:off x="161066" y="1619658"/>
            <a:ext cx="981072" cy="432515"/>
          </a:xfrm>
          <a:custGeom>
            <a:avLst/>
            <a:gdLst>
              <a:gd name="T0" fmla="*/ 187 w 1257"/>
              <a:gd name="T1" fmla="*/ 61 h 553"/>
              <a:gd name="T2" fmla="*/ 32 w 1257"/>
              <a:gd name="T3" fmla="*/ 81 h 553"/>
              <a:gd name="T4" fmla="*/ 112 w 1257"/>
              <a:gd name="T5" fmla="*/ 179 h 553"/>
              <a:gd name="T6" fmla="*/ 284 w 1257"/>
              <a:gd name="T7" fmla="*/ 20 h 553"/>
              <a:gd name="T8" fmla="*/ 269 w 1257"/>
              <a:gd name="T9" fmla="*/ 5 h 553"/>
              <a:gd name="T10" fmla="*/ 280 w 1257"/>
              <a:gd name="T11" fmla="*/ 72 h 553"/>
              <a:gd name="T12" fmla="*/ 308 w 1257"/>
              <a:gd name="T13" fmla="*/ 147 h 553"/>
              <a:gd name="T14" fmla="*/ 346 w 1257"/>
              <a:gd name="T15" fmla="*/ 104 h 553"/>
              <a:gd name="T16" fmla="*/ 518 w 1257"/>
              <a:gd name="T17" fmla="*/ 95 h 553"/>
              <a:gd name="T18" fmla="*/ 443 w 1257"/>
              <a:gd name="T19" fmla="*/ 72 h 553"/>
              <a:gd name="T20" fmla="*/ 518 w 1257"/>
              <a:gd name="T21" fmla="*/ 71 h 553"/>
              <a:gd name="T22" fmla="*/ 521 w 1257"/>
              <a:gd name="T23" fmla="*/ 146 h 553"/>
              <a:gd name="T24" fmla="*/ 627 w 1257"/>
              <a:gd name="T25" fmla="*/ 103 h 553"/>
              <a:gd name="T26" fmla="*/ 627 w 1257"/>
              <a:gd name="T27" fmla="*/ 185 h 553"/>
              <a:gd name="T28" fmla="*/ 681 w 1257"/>
              <a:gd name="T29" fmla="*/ 186 h 553"/>
              <a:gd name="T30" fmla="*/ 681 w 1257"/>
              <a:gd name="T31" fmla="*/ 110 h 553"/>
              <a:gd name="T32" fmla="*/ 712 w 1257"/>
              <a:gd name="T33" fmla="*/ 94 h 553"/>
              <a:gd name="T34" fmla="*/ 926 w 1257"/>
              <a:gd name="T35" fmla="*/ 143 h 553"/>
              <a:gd name="T36" fmla="*/ 858 w 1257"/>
              <a:gd name="T37" fmla="*/ 68 h 553"/>
              <a:gd name="T38" fmla="*/ 821 w 1257"/>
              <a:gd name="T39" fmla="*/ 103 h 553"/>
              <a:gd name="T40" fmla="*/ 1020 w 1257"/>
              <a:gd name="T41" fmla="*/ 23 h 553"/>
              <a:gd name="T42" fmla="*/ 981 w 1257"/>
              <a:gd name="T43" fmla="*/ 91 h 553"/>
              <a:gd name="T44" fmla="*/ 957 w 1257"/>
              <a:gd name="T45" fmla="*/ 72 h 553"/>
              <a:gd name="T46" fmla="*/ 1098 w 1257"/>
              <a:gd name="T47" fmla="*/ 214 h 553"/>
              <a:gd name="T48" fmla="*/ 1039 w 1257"/>
              <a:gd name="T49" fmla="*/ 72 h 553"/>
              <a:gd name="T50" fmla="*/ 1062 w 1257"/>
              <a:gd name="T51" fmla="*/ 91 h 553"/>
              <a:gd name="T52" fmla="*/ 112 w 1257"/>
              <a:gd name="T53" fmla="*/ 453 h 553"/>
              <a:gd name="T54" fmla="*/ 23 w 1257"/>
              <a:gd name="T55" fmla="*/ 481 h 553"/>
              <a:gd name="T56" fmla="*/ 0 w 1257"/>
              <a:gd name="T57" fmla="*/ 353 h 553"/>
              <a:gd name="T58" fmla="*/ 36 w 1257"/>
              <a:gd name="T59" fmla="*/ 328 h 553"/>
              <a:gd name="T60" fmla="*/ 112 w 1257"/>
              <a:gd name="T61" fmla="*/ 453 h 553"/>
              <a:gd name="T62" fmla="*/ 225 w 1257"/>
              <a:gd name="T63" fmla="*/ 507 h 553"/>
              <a:gd name="T64" fmla="*/ 230 w 1257"/>
              <a:gd name="T65" fmla="*/ 299 h 553"/>
              <a:gd name="T66" fmla="*/ 228 w 1257"/>
              <a:gd name="T67" fmla="*/ 320 h 553"/>
              <a:gd name="T68" fmla="*/ 226 w 1257"/>
              <a:gd name="T69" fmla="*/ 486 h 553"/>
              <a:gd name="T70" fmla="*/ 378 w 1257"/>
              <a:gd name="T71" fmla="*/ 302 h 553"/>
              <a:gd name="T72" fmla="*/ 570 w 1257"/>
              <a:gd name="T73" fmla="*/ 507 h 553"/>
              <a:gd name="T74" fmla="*/ 612 w 1257"/>
              <a:gd name="T75" fmla="*/ 456 h 553"/>
              <a:gd name="T76" fmla="*/ 589 w 1257"/>
              <a:gd name="T77" fmla="*/ 299 h 553"/>
              <a:gd name="T78" fmla="*/ 553 w 1257"/>
              <a:gd name="T79" fmla="*/ 367 h 553"/>
              <a:gd name="T80" fmla="*/ 679 w 1257"/>
              <a:gd name="T81" fmla="*/ 438 h 553"/>
              <a:gd name="T82" fmla="*/ 673 w 1257"/>
              <a:gd name="T83" fmla="*/ 487 h 553"/>
              <a:gd name="T84" fmla="*/ 781 w 1257"/>
              <a:gd name="T85" fmla="*/ 426 h 553"/>
              <a:gd name="T86" fmla="*/ 680 w 1257"/>
              <a:gd name="T87" fmla="*/ 418 h 553"/>
              <a:gd name="T88" fmla="*/ 830 w 1257"/>
              <a:gd name="T89" fmla="*/ 504 h 553"/>
              <a:gd name="T90" fmla="*/ 846 w 1257"/>
              <a:gd name="T91" fmla="*/ 366 h 553"/>
              <a:gd name="T92" fmla="*/ 944 w 1257"/>
              <a:gd name="T93" fmla="*/ 504 h 553"/>
              <a:gd name="T94" fmla="*/ 962 w 1257"/>
              <a:gd name="T95" fmla="*/ 465 h 553"/>
              <a:gd name="T96" fmla="*/ 1101 w 1257"/>
              <a:gd name="T97" fmla="*/ 488 h 553"/>
              <a:gd name="T98" fmla="*/ 1039 w 1257"/>
              <a:gd name="T99" fmla="*/ 393 h 553"/>
              <a:gd name="T100" fmla="*/ 1132 w 1257"/>
              <a:gd name="T101" fmla="*/ 418 h 553"/>
              <a:gd name="T102" fmla="*/ 1257 w 1257"/>
              <a:gd name="T103" fmla="*/ 383 h 553"/>
              <a:gd name="T104" fmla="*/ 1182 w 1257"/>
              <a:gd name="T105" fmla="*/ 360 h 553"/>
              <a:gd name="T106" fmla="*/ 1257 w 1257"/>
              <a:gd name="T107" fmla="*/ 359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57" h="553">
                <a:moveTo>
                  <a:pt x="215" y="216"/>
                </a:moveTo>
                <a:cubicBezTo>
                  <a:pt x="192" y="216"/>
                  <a:pt x="192" y="216"/>
                  <a:pt x="192" y="216"/>
                </a:cubicBezTo>
                <a:cubicBezTo>
                  <a:pt x="192" y="80"/>
                  <a:pt x="192" y="80"/>
                  <a:pt x="192" y="80"/>
                </a:cubicBezTo>
                <a:cubicBezTo>
                  <a:pt x="192" y="70"/>
                  <a:pt x="192" y="57"/>
                  <a:pt x="194" y="41"/>
                </a:cubicBezTo>
                <a:cubicBezTo>
                  <a:pt x="193" y="41"/>
                  <a:pt x="193" y="41"/>
                  <a:pt x="193" y="41"/>
                </a:cubicBezTo>
                <a:cubicBezTo>
                  <a:pt x="191" y="50"/>
                  <a:pt x="189" y="57"/>
                  <a:pt x="187" y="61"/>
                </a:cubicBezTo>
                <a:cubicBezTo>
                  <a:pt x="118" y="216"/>
                  <a:pt x="118" y="216"/>
                  <a:pt x="118" y="216"/>
                </a:cubicBezTo>
                <a:cubicBezTo>
                  <a:pt x="107" y="216"/>
                  <a:pt x="107" y="216"/>
                  <a:pt x="107" y="216"/>
                </a:cubicBezTo>
                <a:cubicBezTo>
                  <a:pt x="38" y="62"/>
                  <a:pt x="38" y="62"/>
                  <a:pt x="38" y="62"/>
                </a:cubicBezTo>
                <a:cubicBezTo>
                  <a:pt x="36" y="58"/>
                  <a:pt x="34" y="51"/>
                  <a:pt x="32" y="41"/>
                </a:cubicBezTo>
                <a:cubicBezTo>
                  <a:pt x="31" y="41"/>
                  <a:pt x="31" y="41"/>
                  <a:pt x="31" y="41"/>
                </a:cubicBezTo>
                <a:cubicBezTo>
                  <a:pt x="32" y="49"/>
                  <a:pt x="32" y="63"/>
                  <a:pt x="32" y="81"/>
                </a:cubicBezTo>
                <a:cubicBezTo>
                  <a:pt x="32" y="216"/>
                  <a:pt x="32" y="216"/>
                  <a:pt x="32" y="216"/>
                </a:cubicBezTo>
                <a:cubicBezTo>
                  <a:pt x="10" y="216"/>
                  <a:pt x="10" y="216"/>
                  <a:pt x="10" y="216"/>
                </a:cubicBezTo>
                <a:cubicBezTo>
                  <a:pt x="10" y="14"/>
                  <a:pt x="10" y="14"/>
                  <a:pt x="10" y="14"/>
                </a:cubicBezTo>
                <a:cubicBezTo>
                  <a:pt x="41" y="14"/>
                  <a:pt x="41" y="14"/>
                  <a:pt x="41" y="14"/>
                </a:cubicBezTo>
                <a:cubicBezTo>
                  <a:pt x="103" y="155"/>
                  <a:pt x="103" y="155"/>
                  <a:pt x="103" y="155"/>
                </a:cubicBezTo>
                <a:cubicBezTo>
                  <a:pt x="107" y="166"/>
                  <a:pt x="110" y="174"/>
                  <a:pt x="112" y="179"/>
                </a:cubicBezTo>
                <a:cubicBezTo>
                  <a:pt x="113" y="179"/>
                  <a:pt x="113" y="179"/>
                  <a:pt x="113" y="179"/>
                </a:cubicBezTo>
                <a:cubicBezTo>
                  <a:pt x="117" y="166"/>
                  <a:pt x="121" y="158"/>
                  <a:pt x="122" y="154"/>
                </a:cubicBezTo>
                <a:cubicBezTo>
                  <a:pt x="186" y="14"/>
                  <a:pt x="186" y="14"/>
                  <a:pt x="186" y="14"/>
                </a:cubicBezTo>
                <a:cubicBezTo>
                  <a:pt x="215" y="14"/>
                  <a:pt x="215" y="14"/>
                  <a:pt x="215" y="14"/>
                </a:cubicBezTo>
                <a:lnTo>
                  <a:pt x="215" y="216"/>
                </a:lnTo>
                <a:close/>
                <a:moveTo>
                  <a:pt x="284" y="20"/>
                </a:moveTo>
                <a:cubicBezTo>
                  <a:pt x="284" y="25"/>
                  <a:pt x="283" y="28"/>
                  <a:pt x="280" y="31"/>
                </a:cubicBezTo>
                <a:cubicBezTo>
                  <a:pt x="277" y="34"/>
                  <a:pt x="273" y="35"/>
                  <a:pt x="269" y="35"/>
                </a:cubicBezTo>
                <a:cubicBezTo>
                  <a:pt x="265" y="35"/>
                  <a:pt x="261" y="34"/>
                  <a:pt x="258" y="31"/>
                </a:cubicBezTo>
                <a:cubicBezTo>
                  <a:pt x="255" y="28"/>
                  <a:pt x="254" y="25"/>
                  <a:pt x="254" y="20"/>
                </a:cubicBezTo>
                <a:cubicBezTo>
                  <a:pt x="254" y="16"/>
                  <a:pt x="255" y="13"/>
                  <a:pt x="258" y="10"/>
                </a:cubicBezTo>
                <a:cubicBezTo>
                  <a:pt x="261" y="7"/>
                  <a:pt x="265" y="5"/>
                  <a:pt x="269" y="5"/>
                </a:cubicBezTo>
                <a:cubicBezTo>
                  <a:pt x="273" y="5"/>
                  <a:pt x="277" y="7"/>
                  <a:pt x="280" y="10"/>
                </a:cubicBezTo>
                <a:cubicBezTo>
                  <a:pt x="283" y="13"/>
                  <a:pt x="284" y="16"/>
                  <a:pt x="284" y="20"/>
                </a:cubicBezTo>
                <a:close/>
                <a:moveTo>
                  <a:pt x="280" y="216"/>
                </a:moveTo>
                <a:cubicBezTo>
                  <a:pt x="257" y="216"/>
                  <a:pt x="257" y="216"/>
                  <a:pt x="257" y="216"/>
                </a:cubicBezTo>
                <a:cubicBezTo>
                  <a:pt x="257" y="72"/>
                  <a:pt x="257" y="72"/>
                  <a:pt x="257" y="72"/>
                </a:cubicBezTo>
                <a:cubicBezTo>
                  <a:pt x="280" y="72"/>
                  <a:pt x="280" y="72"/>
                  <a:pt x="280" y="72"/>
                </a:cubicBezTo>
                <a:lnTo>
                  <a:pt x="280" y="216"/>
                </a:lnTo>
                <a:close/>
                <a:moveTo>
                  <a:pt x="416" y="209"/>
                </a:moveTo>
                <a:cubicBezTo>
                  <a:pt x="405" y="216"/>
                  <a:pt x="392" y="219"/>
                  <a:pt x="377" y="219"/>
                </a:cubicBezTo>
                <a:cubicBezTo>
                  <a:pt x="364" y="219"/>
                  <a:pt x="352" y="216"/>
                  <a:pt x="341" y="210"/>
                </a:cubicBezTo>
                <a:cubicBezTo>
                  <a:pt x="331" y="204"/>
                  <a:pt x="323" y="196"/>
                  <a:pt x="317" y="185"/>
                </a:cubicBezTo>
                <a:cubicBezTo>
                  <a:pt x="311" y="174"/>
                  <a:pt x="308" y="161"/>
                  <a:pt x="308" y="147"/>
                </a:cubicBezTo>
                <a:cubicBezTo>
                  <a:pt x="308" y="124"/>
                  <a:pt x="315" y="104"/>
                  <a:pt x="329" y="90"/>
                </a:cubicBezTo>
                <a:cubicBezTo>
                  <a:pt x="342" y="76"/>
                  <a:pt x="361" y="68"/>
                  <a:pt x="383" y="68"/>
                </a:cubicBezTo>
                <a:cubicBezTo>
                  <a:pt x="396" y="68"/>
                  <a:pt x="407" y="71"/>
                  <a:pt x="417" y="76"/>
                </a:cubicBezTo>
                <a:cubicBezTo>
                  <a:pt x="417" y="99"/>
                  <a:pt x="417" y="99"/>
                  <a:pt x="417" y="99"/>
                </a:cubicBezTo>
                <a:cubicBezTo>
                  <a:pt x="406" y="92"/>
                  <a:pt x="394" y="88"/>
                  <a:pt x="382" y="88"/>
                </a:cubicBezTo>
                <a:cubicBezTo>
                  <a:pt x="367" y="88"/>
                  <a:pt x="355" y="93"/>
                  <a:pt x="346" y="104"/>
                </a:cubicBezTo>
                <a:cubicBezTo>
                  <a:pt x="337" y="115"/>
                  <a:pt x="332" y="128"/>
                  <a:pt x="332" y="145"/>
                </a:cubicBezTo>
                <a:cubicBezTo>
                  <a:pt x="332" y="162"/>
                  <a:pt x="336" y="175"/>
                  <a:pt x="345" y="185"/>
                </a:cubicBezTo>
                <a:cubicBezTo>
                  <a:pt x="354" y="195"/>
                  <a:pt x="366" y="200"/>
                  <a:pt x="381" y="200"/>
                </a:cubicBezTo>
                <a:cubicBezTo>
                  <a:pt x="393" y="200"/>
                  <a:pt x="405" y="196"/>
                  <a:pt x="416" y="187"/>
                </a:cubicBezTo>
                <a:lnTo>
                  <a:pt x="416" y="209"/>
                </a:lnTo>
                <a:close/>
                <a:moveTo>
                  <a:pt x="518" y="95"/>
                </a:moveTo>
                <a:cubicBezTo>
                  <a:pt x="514" y="92"/>
                  <a:pt x="508" y="91"/>
                  <a:pt x="501" y="91"/>
                </a:cubicBezTo>
                <a:cubicBezTo>
                  <a:pt x="491" y="91"/>
                  <a:pt x="482" y="95"/>
                  <a:pt x="476" y="105"/>
                </a:cubicBezTo>
                <a:cubicBezTo>
                  <a:pt x="470" y="115"/>
                  <a:pt x="466" y="127"/>
                  <a:pt x="466" y="142"/>
                </a:cubicBezTo>
                <a:cubicBezTo>
                  <a:pt x="466" y="216"/>
                  <a:pt x="466" y="216"/>
                  <a:pt x="466" y="216"/>
                </a:cubicBezTo>
                <a:cubicBezTo>
                  <a:pt x="443" y="216"/>
                  <a:pt x="443" y="216"/>
                  <a:pt x="443" y="216"/>
                </a:cubicBezTo>
                <a:cubicBezTo>
                  <a:pt x="443" y="72"/>
                  <a:pt x="443" y="72"/>
                  <a:pt x="443" y="72"/>
                </a:cubicBezTo>
                <a:cubicBezTo>
                  <a:pt x="466" y="72"/>
                  <a:pt x="466" y="72"/>
                  <a:pt x="466" y="72"/>
                </a:cubicBezTo>
                <a:cubicBezTo>
                  <a:pt x="466" y="102"/>
                  <a:pt x="466" y="102"/>
                  <a:pt x="466" y="102"/>
                </a:cubicBezTo>
                <a:cubicBezTo>
                  <a:pt x="467" y="102"/>
                  <a:pt x="467" y="102"/>
                  <a:pt x="467" y="102"/>
                </a:cubicBezTo>
                <a:cubicBezTo>
                  <a:pt x="470" y="92"/>
                  <a:pt x="475" y="84"/>
                  <a:pt x="482" y="78"/>
                </a:cubicBezTo>
                <a:cubicBezTo>
                  <a:pt x="488" y="72"/>
                  <a:pt x="496" y="69"/>
                  <a:pt x="505" y="69"/>
                </a:cubicBezTo>
                <a:cubicBezTo>
                  <a:pt x="511" y="69"/>
                  <a:pt x="515" y="70"/>
                  <a:pt x="518" y="71"/>
                </a:cubicBezTo>
                <a:lnTo>
                  <a:pt x="518" y="95"/>
                </a:lnTo>
                <a:close/>
                <a:moveTo>
                  <a:pt x="663" y="143"/>
                </a:moveTo>
                <a:cubicBezTo>
                  <a:pt x="663" y="166"/>
                  <a:pt x="656" y="185"/>
                  <a:pt x="643" y="199"/>
                </a:cubicBezTo>
                <a:cubicBezTo>
                  <a:pt x="630" y="212"/>
                  <a:pt x="613" y="219"/>
                  <a:pt x="591" y="219"/>
                </a:cubicBezTo>
                <a:cubicBezTo>
                  <a:pt x="570" y="219"/>
                  <a:pt x="553" y="213"/>
                  <a:pt x="540" y="199"/>
                </a:cubicBezTo>
                <a:cubicBezTo>
                  <a:pt x="527" y="186"/>
                  <a:pt x="521" y="168"/>
                  <a:pt x="521" y="146"/>
                </a:cubicBezTo>
                <a:cubicBezTo>
                  <a:pt x="521" y="122"/>
                  <a:pt x="528" y="103"/>
                  <a:pt x="541" y="89"/>
                </a:cubicBezTo>
                <a:cubicBezTo>
                  <a:pt x="554" y="75"/>
                  <a:pt x="572" y="68"/>
                  <a:pt x="594" y="68"/>
                </a:cubicBezTo>
                <a:cubicBezTo>
                  <a:pt x="616" y="68"/>
                  <a:pt x="633" y="75"/>
                  <a:pt x="645" y="88"/>
                </a:cubicBezTo>
                <a:cubicBezTo>
                  <a:pt x="657" y="102"/>
                  <a:pt x="663" y="120"/>
                  <a:pt x="663" y="143"/>
                </a:cubicBezTo>
                <a:close/>
                <a:moveTo>
                  <a:pt x="639" y="144"/>
                </a:moveTo>
                <a:cubicBezTo>
                  <a:pt x="639" y="126"/>
                  <a:pt x="635" y="112"/>
                  <a:pt x="627" y="103"/>
                </a:cubicBezTo>
                <a:cubicBezTo>
                  <a:pt x="619" y="93"/>
                  <a:pt x="608" y="88"/>
                  <a:pt x="593" y="88"/>
                </a:cubicBezTo>
                <a:cubicBezTo>
                  <a:pt x="578" y="88"/>
                  <a:pt x="566" y="93"/>
                  <a:pt x="558" y="103"/>
                </a:cubicBezTo>
                <a:cubicBezTo>
                  <a:pt x="549" y="113"/>
                  <a:pt x="545" y="127"/>
                  <a:pt x="545" y="145"/>
                </a:cubicBezTo>
                <a:cubicBezTo>
                  <a:pt x="545" y="162"/>
                  <a:pt x="549" y="175"/>
                  <a:pt x="558" y="185"/>
                </a:cubicBezTo>
                <a:cubicBezTo>
                  <a:pt x="566" y="195"/>
                  <a:pt x="578" y="200"/>
                  <a:pt x="593" y="200"/>
                </a:cubicBezTo>
                <a:cubicBezTo>
                  <a:pt x="608" y="200"/>
                  <a:pt x="619" y="195"/>
                  <a:pt x="627" y="185"/>
                </a:cubicBezTo>
                <a:cubicBezTo>
                  <a:pt x="635" y="176"/>
                  <a:pt x="639" y="162"/>
                  <a:pt x="639" y="144"/>
                </a:cubicBezTo>
                <a:close/>
                <a:moveTo>
                  <a:pt x="769" y="177"/>
                </a:moveTo>
                <a:cubicBezTo>
                  <a:pt x="769" y="190"/>
                  <a:pt x="765" y="200"/>
                  <a:pt x="755" y="208"/>
                </a:cubicBezTo>
                <a:cubicBezTo>
                  <a:pt x="745" y="216"/>
                  <a:pt x="733" y="219"/>
                  <a:pt x="717" y="219"/>
                </a:cubicBezTo>
                <a:cubicBezTo>
                  <a:pt x="703" y="219"/>
                  <a:pt x="691" y="216"/>
                  <a:pt x="681" y="211"/>
                </a:cubicBezTo>
                <a:cubicBezTo>
                  <a:pt x="681" y="186"/>
                  <a:pt x="681" y="186"/>
                  <a:pt x="681" y="186"/>
                </a:cubicBezTo>
                <a:cubicBezTo>
                  <a:pt x="692" y="195"/>
                  <a:pt x="705" y="200"/>
                  <a:pt x="718" y="200"/>
                </a:cubicBezTo>
                <a:cubicBezTo>
                  <a:pt x="737" y="200"/>
                  <a:pt x="746" y="193"/>
                  <a:pt x="746" y="180"/>
                </a:cubicBezTo>
                <a:cubicBezTo>
                  <a:pt x="746" y="174"/>
                  <a:pt x="744" y="170"/>
                  <a:pt x="740" y="166"/>
                </a:cubicBezTo>
                <a:cubicBezTo>
                  <a:pt x="737" y="163"/>
                  <a:pt x="729" y="158"/>
                  <a:pt x="716" y="152"/>
                </a:cubicBezTo>
                <a:cubicBezTo>
                  <a:pt x="703" y="147"/>
                  <a:pt x="694" y="141"/>
                  <a:pt x="689" y="135"/>
                </a:cubicBezTo>
                <a:cubicBezTo>
                  <a:pt x="684" y="129"/>
                  <a:pt x="681" y="120"/>
                  <a:pt x="681" y="110"/>
                </a:cubicBezTo>
                <a:cubicBezTo>
                  <a:pt x="681" y="98"/>
                  <a:pt x="686" y="88"/>
                  <a:pt x="696" y="80"/>
                </a:cubicBezTo>
                <a:cubicBezTo>
                  <a:pt x="705" y="72"/>
                  <a:pt x="717" y="68"/>
                  <a:pt x="732" y="68"/>
                </a:cubicBezTo>
                <a:cubicBezTo>
                  <a:pt x="743" y="68"/>
                  <a:pt x="754" y="71"/>
                  <a:pt x="763" y="75"/>
                </a:cubicBezTo>
                <a:cubicBezTo>
                  <a:pt x="763" y="98"/>
                  <a:pt x="763" y="98"/>
                  <a:pt x="763" y="98"/>
                </a:cubicBezTo>
                <a:cubicBezTo>
                  <a:pt x="753" y="91"/>
                  <a:pt x="743" y="88"/>
                  <a:pt x="730" y="88"/>
                </a:cubicBezTo>
                <a:cubicBezTo>
                  <a:pt x="723" y="88"/>
                  <a:pt x="716" y="90"/>
                  <a:pt x="712" y="94"/>
                </a:cubicBezTo>
                <a:cubicBezTo>
                  <a:pt x="707" y="97"/>
                  <a:pt x="705" y="102"/>
                  <a:pt x="705" y="108"/>
                </a:cubicBezTo>
                <a:cubicBezTo>
                  <a:pt x="705" y="115"/>
                  <a:pt x="707" y="119"/>
                  <a:pt x="710" y="123"/>
                </a:cubicBezTo>
                <a:cubicBezTo>
                  <a:pt x="714" y="126"/>
                  <a:pt x="721" y="130"/>
                  <a:pt x="732" y="135"/>
                </a:cubicBezTo>
                <a:cubicBezTo>
                  <a:pt x="746" y="141"/>
                  <a:pt x="756" y="147"/>
                  <a:pt x="761" y="153"/>
                </a:cubicBezTo>
                <a:cubicBezTo>
                  <a:pt x="767" y="160"/>
                  <a:pt x="769" y="168"/>
                  <a:pt x="769" y="177"/>
                </a:cubicBezTo>
                <a:close/>
                <a:moveTo>
                  <a:pt x="926" y="143"/>
                </a:moveTo>
                <a:cubicBezTo>
                  <a:pt x="926" y="166"/>
                  <a:pt x="920" y="185"/>
                  <a:pt x="907" y="199"/>
                </a:cubicBezTo>
                <a:cubicBezTo>
                  <a:pt x="894" y="212"/>
                  <a:pt x="876" y="219"/>
                  <a:pt x="854" y="219"/>
                </a:cubicBezTo>
                <a:cubicBezTo>
                  <a:pt x="833" y="219"/>
                  <a:pt x="816" y="213"/>
                  <a:pt x="803" y="199"/>
                </a:cubicBezTo>
                <a:cubicBezTo>
                  <a:pt x="791" y="186"/>
                  <a:pt x="784" y="168"/>
                  <a:pt x="784" y="146"/>
                </a:cubicBezTo>
                <a:cubicBezTo>
                  <a:pt x="784" y="122"/>
                  <a:pt x="791" y="103"/>
                  <a:pt x="804" y="89"/>
                </a:cubicBezTo>
                <a:cubicBezTo>
                  <a:pt x="817" y="75"/>
                  <a:pt x="835" y="68"/>
                  <a:pt x="858" y="68"/>
                </a:cubicBezTo>
                <a:cubicBezTo>
                  <a:pt x="879" y="68"/>
                  <a:pt x="896" y="75"/>
                  <a:pt x="908" y="88"/>
                </a:cubicBezTo>
                <a:cubicBezTo>
                  <a:pt x="920" y="102"/>
                  <a:pt x="926" y="120"/>
                  <a:pt x="926" y="143"/>
                </a:cubicBezTo>
                <a:close/>
                <a:moveTo>
                  <a:pt x="903" y="144"/>
                </a:moveTo>
                <a:cubicBezTo>
                  <a:pt x="903" y="126"/>
                  <a:pt x="898" y="112"/>
                  <a:pt x="890" y="103"/>
                </a:cubicBezTo>
                <a:cubicBezTo>
                  <a:pt x="882" y="93"/>
                  <a:pt x="871" y="88"/>
                  <a:pt x="856" y="88"/>
                </a:cubicBezTo>
                <a:cubicBezTo>
                  <a:pt x="841" y="88"/>
                  <a:pt x="830" y="93"/>
                  <a:pt x="821" y="103"/>
                </a:cubicBezTo>
                <a:cubicBezTo>
                  <a:pt x="812" y="113"/>
                  <a:pt x="808" y="127"/>
                  <a:pt x="808" y="145"/>
                </a:cubicBezTo>
                <a:cubicBezTo>
                  <a:pt x="808" y="162"/>
                  <a:pt x="812" y="175"/>
                  <a:pt x="821" y="185"/>
                </a:cubicBezTo>
                <a:cubicBezTo>
                  <a:pt x="830" y="195"/>
                  <a:pt x="841" y="200"/>
                  <a:pt x="856" y="200"/>
                </a:cubicBezTo>
                <a:cubicBezTo>
                  <a:pt x="871" y="200"/>
                  <a:pt x="883" y="195"/>
                  <a:pt x="891" y="185"/>
                </a:cubicBezTo>
                <a:cubicBezTo>
                  <a:pt x="899" y="176"/>
                  <a:pt x="903" y="162"/>
                  <a:pt x="903" y="144"/>
                </a:cubicBezTo>
                <a:close/>
                <a:moveTo>
                  <a:pt x="1020" y="23"/>
                </a:moveTo>
                <a:cubicBezTo>
                  <a:pt x="1016" y="20"/>
                  <a:pt x="1010" y="19"/>
                  <a:pt x="1005" y="19"/>
                </a:cubicBezTo>
                <a:cubicBezTo>
                  <a:pt x="989" y="19"/>
                  <a:pt x="981" y="29"/>
                  <a:pt x="981" y="50"/>
                </a:cubicBezTo>
                <a:cubicBezTo>
                  <a:pt x="981" y="72"/>
                  <a:pt x="981" y="72"/>
                  <a:pt x="981" y="72"/>
                </a:cubicBezTo>
                <a:cubicBezTo>
                  <a:pt x="1014" y="72"/>
                  <a:pt x="1014" y="72"/>
                  <a:pt x="1014" y="72"/>
                </a:cubicBezTo>
                <a:cubicBezTo>
                  <a:pt x="1014" y="91"/>
                  <a:pt x="1014" y="91"/>
                  <a:pt x="1014" y="91"/>
                </a:cubicBezTo>
                <a:cubicBezTo>
                  <a:pt x="981" y="91"/>
                  <a:pt x="981" y="91"/>
                  <a:pt x="981" y="91"/>
                </a:cubicBezTo>
                <a:cubicBezTo>
                  <a:pt x="981" y="216"/>
                  <a:pt x="981" y="216"/>
                  <a:pt x="981" y="216"/>
                </a:cubicBezTo>
                <a:cubicBezTo>
                  <a:pt x="957" y="216"/>
                  <a:pt x="957" y="216"/>
                  <a:pt x="957" y="216"/>
                </a:cubicBezTo>
                <a:cubicBezTo>
                  <a:pt x="957" y="91"/>
                  <a:pt x="957" y="91"/>
                  <a:pt x="957" y="91"/>
                </a:cubicBezTo>
                <a:cubicBezTo>
                  <a:pt x="933" y="91"/>
                  <a:pt x="933" y="91"/>
                  <a:pt x="933" y="91"/>
                </a:cubicBezTo>
                <a:cubicBezTo>
                  <a:pt x="933" y="72"/>
                  <a:pt x="933" y="72"/>
                  <a:pt x="933" y="72"/>
                </a:cubicBezTo>
                <a:cubicBezTo>
                  <a:pt x="957" y="72"/>
                  <a:pt x="957" y="72"/>
                  <a:pt x="957" y="72"/>
                </a:cubicBezTo>
                <a:cubicBezTo>
                  <a:pt x="957" y="49"/>
                  <a:pt x="957" y="49"/>
                  <a:pt x="957" y="49"/>
                </a:cubicBezTo>
                <a:cubicBezTo>
                  <a:pt x="957" y="34"/>
                  <a:pt x="962" y="22"/>
                  <a:pt x="970" y="13"/>
                </a:cubicBezTo>
                <a:cubicBezTo>
                  <a:pt x="979" y="4"/>
                  <a:pt x="990" y="0"/>
                  <a:pt x="1003" y="0"/>
                </a:cubicBezTo>
                <a:cubicBezTo>
                  <a:pt x="1010" y="0"/>
                  <a:pt x="1016" y="0"/>
                  <a:pt x="1020" y="2"/>
                </a:cubicBezTo>
                <a:lnTo>
                  <a:pt x="1020" y="23"/>
                </a:lnTo>
                <a:close/>
                <a:moveTo>
                  <a:pt x="1098" y="214"/>
                </a:moveTo>
                <a:cubicBezTo>
                  <a:pt x="1092" y="218"/>
                  <a:pt x="1085" y="219"/>
                  <a:pt x="1076" y="219"/>
                </a:cubicBezTo>
                <a:cubicBezTo>
                  <a:pt x="1051" y="219"/>
                  <a:pt x="1039" y="205"/>
                  <a:pt x="1039" y="177"/>
                </a:cubicBezTo>
                <a:cubicBezTo>
                  <a:pt x="1039" y="91"/>
                  <a:pt x="1039" y="91"/>
                  <a:pt x="1039" y="91"/>
                </a:cubicBezTo>
                <a:cubicBezTo>
                  <a:pt x="1014" y="91"/>
                  <a:pt x="1014" y="91"/>
                  <a:pt x="1014" y="91"/>
                </a:cubicBezTo>
                <a:cubicBezTo>
                  <a:pt x="1014" y="72"/>
                  <a:pt x="1014" y="72"/>
                  <a:pt x="1014" y="72"/>
                </a:cubicBezTo>
                <a:cubicBezTo>
                  <a:pt x="1039" y="72"/>
                  <a:pt x="1039" y="72"/>
                  <a:pt x="1039" y="72"/>
                </a:cubicBezTo>
                <a:cubicBezTo>
                  <a:pt x="1039" y="37"/>
                  <a:pt x="1039" y="37"/>
                  <a:pt x="1039" y="37"/>
                </a:cubicBezTo>
                <a:cubicBezTo>
                  <a:pt x="1062" y="29"/>
                  <a:pt x="1062" y="29"/>
                  <a:pt x="1062" y="29"/>
                </a:cubicBezTo>
                <a:cubicBezTo>
                  <a:pt x="1062" y="72"/>
                  <a:pt x="1062" y="72"/>
                  <a:pt x="1062" y="72"/>
                </a:cubicBezTo>
                <a:cubicBezTo>
                  <a:pt x="1098" y="72"/>
                  <a:pt x="1098" y="72"/>
                  <a:pt x="1098" y="72"/>
                </a:cubicBezTo>
                <a:cubicBezTo>
                  <a:pt x="1098" y="91"/>
                  <a:pt x="1098" y="91"/>
                  <a:pt x="1098" y="91"/>
                </a:cubicBezTo>
                <a:cubicBezTo>
                  <a:pt x="1062" y="91"/>
                  <a:pt x="1062" y="91"/>
                  <a:pt x="1062" y="91"/>
                </a:cubicBezTo>
                <a:cubicBezTo>
                  <a:pt x="1062" y="173"/>
                  <a:pt x="1062" y="173"/>
                  <a:pt x="1062" y="173"/>
                </a:cubicBezTo>
                <a:cubicBezTo>
                  <a:pt x="1062" y="182"/>
                  <a:pt x="1063" y="189"/>
                  <a:pt x="1067" y="193"/>
                </a:cubicBezTo>
                <a:cubicBezTo>
                  <a:pt x="1070" y="197"/>
                  <a:pt x="1075" y="199"/>
                  <a:pt x="1083" y="199"/>
                </a:cubicBezTo>
                <a:cubicBezTo>
                  <a:pt x="1089" y="199"/>
                  <a:pt x="1094" y="198"/>
                  <a:pt x="1098" y="195"/>
                </a:cubicBezTo>
                <a:lnTo>
                  <a:pt x="1098" y="214"/>
                </a:lnTo>
                <a:close/>
                <a:moveTo>
                  <a:pt x="112" y="453"/>
                </a:moveTo>
                <a:cubicBezTo>
                  <a:pt x="112" y="470"/>
                  <a:pt x="106" y="483"/>
                  <a:pt x="94" y="493"/>
                </a:cubicBezTo>
                <a:cubicBezTo>
                  <a:pt x="82" y="503"/>
                  <a:pt x="66" y="507"/>
                  <a:pt x="46" y="507"/>
                </a:cubicBezTo>
                <a:cubicBezTo>
                  <a:pt x="38" y="507"/>
                  <a:pt x="30" y="506"/>
                  <a:pt x="20" y="504"/>
                </a:cubicBezTo>
                <a:cubicBezTo>
                  <a:pt x="11" y="501"/>
                  <a:pt x="4" y="499"/>
                  <a:pt x="0" y="496"/>
                </a:cubicBezTo>
                <a:cubicBezTo>
                  <a:pt x="0" y="468"/>
                  <a:pt x="0" y="468"/>
                  <a:pt x="0" y="468"/>
                </a:cubicBezTo>
                <a:cubicBezTo>
                  <a:pt x="6" y="473"/>
                  <a:pt x="13" y="477"/>
                  <a:pt x="23" y="481"/>
                </a:cubicBezTo>
                <a:cubicBezTo>
                  <a:pt x="32" y="484"/>
                  <a:pt x="41" y="486"/>
                  <a:pt x="49" y="486"/>
                </a:cubicBezTo>
                <a:cubicBezTo>
                  <a:pt x="75" y="486"/>
                  <a:pt x="88" y="476"/>
                  <a:pt x="88" y="456"/>
                </a:cubicBezTo>
                <a:cubicBezTo>
                  <a:pt x="88" y="447"/>
                  <a:pt x="85" y="440"/>
                  <a:pt x="79" y="434"/>
                </a:cubicBezTo>
                <a:cubicBezTo>
                  <a:pt x="74" y="428"/>
                  <a:pt x="62" y="420"/>
                  <a:pt x="45" y="410"/>
                </a:cubicBezTo>
                <a:cubicBezTo>
                  <a:pt x="29" y="401"/>
                  <a:pt x="17" y="392"/>
                  <a:pt x="10" y="384"/>
                </a:cubicBezTo>
                <a:cubicBezTo>
                  <a:pt x="4" y="375"/>
                  <a:pt x="0" y="365"/>
                  <a:pt x="0" y="353"/>
                </a:cubicBezTo>
                <a:cubicBezTo>
                  <a:pt x="0" y="337"/>
                  <a:pt x="6" y="324"/>
                  <a:pt x="18" y="314"/>
                </a:cubicBezTo>
                <a:cubicBezTo>
                  <a:pt x="30" y="304"/>
                  <a:pt x="46" y="299"/>
                  <a:pt x="64" y="299"/>
                </a:cubicBezTo>
                <a:cubicBezTo>
                  <a:pt x="82" y="299"/>
                  <a:pt x="96" y="301"/>
                  <a:pt x="104" y="306"/>
                </a:cubicBezTo>
                <a:cubicBezTo>
                  <a:pt x="104" y="332"/>
                  <a:pt x="104" y="332"/>
                  <a:pt x="104" y="332"/>
                </a:cubicBezTo>
                <a:cubicBezTo>
                  <a:pt x="94" y="324"/>
                  <a:pt x="80" y="320"/>
                  <a:pt x="63" y="320"/>
                </a:cubicBezTo>
                <a:cubicBezTo>
                  <a:pt x="52" y="320"/>
                  <a:pt x="43" y="323"/>
                  <a:pt x="36" y="328"/>
                </a:cubicBezTo>
                <a:cubicBezTo>
                  <a:pt x="29" y="334"/>
                  <a:pt x="25" y="341"/>
                  <a:pt x="25" y="351"/>
                </a:cubicBezTo>
                <a:cubicBezTo>
                  <a:pt x="25" y="357"/>
                  <a:pt x="26" y="363"/>
                  <a:pt x="28" y="367"/>
                </a:cubicBezTo>
                <a:cubicBezTo>
                  <a:pt x="30" y="371"/>
                  <a:pt x="34" y="375"/>
                  <a:pt x="39" y="379"/>
                </a:cubicBezTo>
                <a:cubicBezTo>
                  <a:pt x="44" y="383"/>
                  <a:pt x="52" y="388"/>
                  <a:pt x="64" y="394"/>
                </a:cubicBezTo>
                <a:cubicBezTo>
                  <a:pt x="82" y="404"/>
                  <a:pt x="95" y="414"/>
                  <a:pt x="102" y="423"/>
                </a:cubicBezTo>
                <a:cubicBezTo>
                  <a:pt x="109" y="431"/>
                  <a:pt x="112" y="442"/>
                  <a:pt x="112" y="453"/>
                </a:cubicBezTo>
                <a:close/>
                <a:moveTo>
                  <a:pt x="322" y="401"/>
                </a:moveTo>
                <a:cubicBezTo>
                  <a:pt x="322" y="428"/>
                  <a:pt x="316" y="451"/>
                  <a:pt x="304" y="469"/>
                </a:cubicBezTo>
                <a:cubicBezTo>
                  <a:pt x="291" y="487"/>
                  <a:pt x="273" y="499"/>
                  <a:pt x="250" y="504"/>
                </a:cubicBezTo>
                <a:cubicBezTo>
                  <a:pt x="297" y="553"/>
                  <a:pt x="297" y="553"/>
                  <a:pt x="297" y="553"/>
                </a:cubicBezTo>
                <a:cubicBezTo>
                  <a:pt x="264" y="553"/>
                  <a:pt x="264" y="553"/>
                  <a:pt x="264" y="553"/>
                </a:cubicBezTo>
                <a:cubicBezTo>
                  <a:pt x="225" y="507"/>
                  <a:pt x="225" y="507"/>
                  <a:pt x="225" y="507"/>
                </a:cubicBezTo>
                <a:cubicBezTo>
                  <a:pt x="207" y="507"/>
                  <a:pt x="191" y="503"/>
                  <a:pt x="176" y="494"/>
                </a:cubicBezTo>
                <a:cubicBezTo>
                  <a:pt x="162" y="486"/>
                  <a:pt x="151" y="474"/>
                  <a:pt x="143" y="458"/>
                </a:cubicBezTo>
                <a:cubicBezTo>
                  <a:pt x="136" y="442"/>
                  <a:pt x="132" y="425"/>
                  <a:pt x="132" y="405"/>
                </a:cubicBezTo>
                <a:cubicBezTo>
                  <a:pt x="132" y="384"/>
                  <a:pt x="136" y="365"/>
                  <a:pt x="144" y="349"/>
                </a:cubicBezTo>
                <a:cubicBezTo>
                  <a:pt x="152" y="333"/>
                  <a:pt x="163" y="320"/>
                  <a:pt x="178" y="312"/>
                </a:cubicBezTo>
                <a:cubicBezTo>
                  <a:pt x="193" y="303"/>
                  <a:pt x="210" y="299"/>
                  <a:pt x="230" y="299"/>
                </a:cubicBezTo>
                <a:cubicBezTo>
                  <a:pt x="248" y="299"/>
                  <a:pt x="264" y="303"/>
                  <a:pt x="278" y="312"/>
                </a:cubicBezTo>
                <a:cubicBezTo>
                  <a:pt x="292" y="320"/>
                  <a:pt x="303" y="333"/>
                  <a:pt x="311" y="348"/>
                </a:cubicBezTo>
                <a:cubicBezTo>
                  <a:pt x="319" y="364"/>
                  <a:pt x="322" y="381"/>
                  <a:pt x="322" y="401"/>
                </a:cubicBezTo>
                <a:close/>
                <a:moveTo>
                  <a:pt x="298" y="404"/>
                </a:moveTo>
                <a:cubicBezTo>
                  <a:pt x="298" y="377"/>
                  <a:pt x="291" y="357"/>
                  <a:pt x="279" y="342"/>
                </a:cubicBezTo>
                <a:cubicBezTo>
                  <a:pt x="267" y="327"/>
                  <a:pt x="250" y="320"/>
                  <a:pt x="228" y="320"/>
                </a:cubicBezTo>
                <a:cubicBezTo>
                  <a:pt x="214" y="320"/>
                  <a:pt x="202" y="324"/>
                  <a:pt x="191" y="331"/>
                </a:cubicBezTo>
                <a:cubicBezTo>
                  <a:pt x="180" y="338"/>
                  <a:pt x="171" y="347"/>
                  <a:pt x="165" y="360"/>
                </a:cubicBezTo>
                <a:cubicBezTo>
                  <a:pt x="159" y="373"/>
                  <a:pt x="156" y="387"/>
                  <a:pt x="156" y="403"/>
                </a:cubicBezTo>
                <a:cubicBezTo>
                  <a:pt x="156" y="419"/>
                  <a:pt x="159" y="434"/>
                  <a:pt x="165" y="446"/>
                </a:cubicBezTo>
                <a:cubicBezTo>
                  <a:pt x="171" y="459"/>
                  <a:pt x="179" y="469"/>
                  <a:pt x="190" y="476"/>
                </a:cubicBezTo>
                <a:cubicBezTo>
                  <a:pt x="200" y="483"/>
                  <a:pt x="213" y="486"/>
                  <a:pt x="226" y="486"/>
                </a:cubicBezTo>
                <a:cubicBezTo>
                  <a:pt x="248" y="486"/>
                  <a:pt x="266" y="479"/>
                  <a:pt x="279" y="464"/>
                </a:cubicBezTo>
                <a:cubicBezTo>
                  <a:pt x="291" y="449"/>
                  <a:pt x="298" y="429"/>
                  <a:pt x="298" y="404"/>
                </a:cubicBezTo>
                <a:close/>
                <a:moveTo>
                  <a:pt x="459" y="504"/>
                </a:moveTo>
                <a:cubicBezTo>
                  <a:pt x="354" y="504"/>
                  <a:pt x="354" y="504"/>
                  <a:pt x="354" y="504"/>
                </a:cubicBezTo>
                <a:cubicBezTo>
                  <a:pt x="354" y="302"/>
                  <a:pt x="354" y="302"/>
                  <a:pt x="354" y="302"/>
                </a:cubicBezTo>
                <a:cubicBezTo>
                  <a:pt x="378" y="302"/>
                  <a:pt x="378" y="302"/>
                  <a:pt x="378" y="302"/>
                </a:cubicBezTo>
                <a:cubicBezTo>
                  <a:pt x="378" y="483"/>
                  <a:pt x="378" y="483"/>
                  <a:pt x="378" y="483"/>
                </a:cubicBezTo>
                <a:cubicBezTo>
                  <a:pt x="459" y="483"/>
                  <a:pt x="459" y="483"/>
                  <a:pt x="459" y="483"/>
                </a:cubicBezTo>
                <a:lnTo>
                  <a:pt x="459" y="504"/>
                </a:lnTo>
                <a:close/>
                <a:moveTo>
                  <a:pt x="637" y="453"/>
                </a:moveTo>
                <a:cubicBezTo>
                  <a:pt x="637" y="470"/>
                  <a:pt x="631" y="483"/>
                  <a:pt x="619" y="493"/>
                </a:cubicBezTo>
                <a:cubicBezTo>
                  <a:pt x="607" y="503"/>
                  <a:pt x="591" y="507"/>
                  <a:pt x="570" y="507"/>
                </a:cubicBezTo>
                <a:cubicBezTo>
                  <a:pt x="563" y="507"/>
                  <a:pt x="554" y="506"/>
                  <a:pt x="545" y="504"/>
                </a:cubicBezTo>
                <a:cubicBezTo>
                  <a:pt x="535" y="501"/>
                  <a:pt x="529" y="499"/>
                  <a:pt x="525" y="496"/>
                </a:cubicBezTo>
                <a:cubicBezTo>
                  <a:pt x="525" y="468"/>
                  <a:pt x="525" y="468"/>
                  <a:pt x="525" y="468"/>
                </a:cubicBezTo>
                <a:cubicBezTo>
                  <a:pt x="531" y="473"/>
                  <a:pt x="538" y="477"/>
                  <a:pt x="547" y="481"/>
                </a:cubicBezTo>
                <a:cubicBezTo>
                  <a:pt x="557" y="484"/>
                  <a:pt x="565" y="486"/>
                  <a:pt x="573" y="486"/>
                </a:cubicBezTo>
                <a:cubicBezTo>
                  <a:pt x="599" y="486"/>
                  <a:pt x="612" y="476"/>
                  <a:pt x="612" y="456"/>
                </a:cubicBezTo>
                <a:cubicBezTo>
                  <a:pt x="612" y="447"/>
                  <a:pt x="610" y="440"/>
                  <a:pt x="604" y="434"/>
                </a:cubicBezTo>
                <a:cubicBezTo>
                  <a:pt x="598" y="428"/>
                  <a:pt x="587" y="420"/>
                  <a:pt x="570" y="410"/>
                </a:cubicBezTo>
                <a:cubicBezTo>
                  <a:pt x="553" y="401"/>
                  <a:pt x="542" y="392"/>
                  <a:pt x="535" y="384"/>
                </a:cubicBezTo>
                <a:cubicBezTo>
                  <a:pt x="528" y="375"/>
                  <a:pt x="525" y="365"/>
                  <a:pt x="525" y="353"/>
                </a:cubicBezTo>
                <a:cubicBezTo>
                  <a:pt x="525" y="337"/>
                  <a:pt x="531" y="324"/>
                  <a:pt x="543" y="314"/>
                </a:cubicBezTo>
                <a:cubicBezTo>
                  <a:pt x="555" y="304"/>
                  <a:pt x="570" y="299"/>
                  <a:pt x="589" y="299"/>
                </a:cubicBezTo>
                <a:cubicBezTo>
                  <a:pt x="607" y="299"/>
                  <a:pt x="620" y="301"/>
                  <a:pt x="629" y="306"/>
                </a:cubicBezTo>
                <a:cubicBezTo>
                  <a:pt x="629" y="332"/>
                  <a:pt x="629" y="332"/>
                  <a:pt x="629" y="332"/>
                </a:cubicBezTo>
                <a:cubicBezTo>
                  <a:pt x="618" y="324"/>
                  <a:pt x="605" y="320"/>
                  <a:pt x="588" y="320"/>
                </a:cubicBezTo>
                <a:cubicBezTo>
                  <a:pt x="577" y="320"/>
                  <a:pt x="568" y="323"/>
                  <a:pt x="560" y="328"/>
                </a:cubicBezTo>
                <a:cubicBezTo>
                  <a:pt x="553" y="334"/>
                  <a:pt x="550" y="341"/>
                  <a:pt x="550" y="351"/>
                </a:cubicBezTo>
                <a:cubicBezTo>
                  <a:pt x="550" y="357"/>
                  <a:pt x="551" y="363"/>
                  <a:pt x="553" y="367"/>
                </a:cubicBezTo>
                <a:cubicBezTo>
                  <a:pt x="555" y="371"/>
                  <a:pt x="559" y="375"/>
                  <a:pt x="564" y="379"/>
                </a:cubicBezTo>
                <a:cubicBezTo>
                  <a:pt x="569" y="383"/>
                  <a:pt x="577" y="388"/>
                  <a:pt x="589" y="394"/>
                </a:cubicBezTo>
                <a:cubicBezTo>
                  <a:pt x="607" y="404"/>
                  <a:pt x="619" y="414"/>
                  <a:pt x="627" y="423"/>
                </a:cubicBezTo>
                <a:cubicBezTo>
                  <a:pt x="634" y="431"/>
                  <a:pt x="637" y="442"/>
                  <a:pt x="637" y="453"/>
                </a:cubicBezTo>
                <a:close/>
                <a:moveTo>
                  <a:pt x="781" y="438"/>
                </a:moveTo>
                <a:cubicBezTo>
                  <a:pt x="679" y="438"/>
                  <a:pt x="679" y="438"/>
                  <a:pt x="679" y="438"/>
                </a:cubicBezTo>
                <a:cubicBezTo>
                  <a:pt x="680" y="454"/>
                  <a:pt x="684" y="466"/>
                  <a:pt x="692" y="475"/>
                </a:cubicBezTo>
                <a:cubicBezTo>
                  <a:pt x="701" y="483"/>
                  <a:pt x="712" y="488"/>
                  <a:pt x="726" y="488"/>
                </a:cubicBezTo>
                <a:cubicBezTo>
                  <a:pt x="743" y="488"/>
                  <a:pt x="758" y="482"/>
                  <a:pt x="771" y="472"/>
                </a:cubicBezTo>
                <a:cubicBezTo>
                  <a:pt x="771" y="493"/>
                  <a:pt x="771" y="493"/>
                  <a:pt x="771" y="493"/>
                </a:cubicBezTo>
                <a:cubicBezTo>
                  <a:pt x="758" y="503"/>
                  <a:pt x="742" y="507"/>
                  <a:pt x="721" y="507"/>
                </a:cubicBezTo>
                <a:cubicBezTo>
                  <a:pt x="700" y="507"/>
                  <a:pt x="684" y="501"/>
                  <a:pt x="673" y="487"/>
                </a:cubicBezTo>
                <a:cubicBezTo>
                  <a:pt x="661" y="474"/>
                  <a:pt x="656" y="456"/>
                  <a:pt x="656" y="432"/>
                </a:cubicBezTo>
                <a:cubicBezTo>
                  <a:pt x="656" y="418"/>
                  <a:pt x="658" y="405"/>
                  <a:pt x="664" y="393"/>
                </a:cubicBezTo>
                <a:cubicBezTo>
                  <a:pt x="670" y="382"/>
                  <a:pt x="678" y="373"/>
                  <a:pt x="688" y="366"/>
                </a:cubicBezTo>
                <a:cubicBezTo>
                  <a:pt x="698" y="360"/>
                  <a:pt x="709" y="356"/>
                  <a:pt x="722" y="356"/>
                </a:cubicBezTo>
                <a:cubicBezTo>
                  <a:pt x="740" y="356"/>
                  <a:pt x="755" y="362"/>
                  <a:pt x="765" y="375"/>
                </a:cubicBezTo>
                <a:cubicBezTo>
                  <a:pt x="776" y="387"/>
                  <a:pt x="781" y="404"/>
                  <a:pt x="781" y="426"/>
                </a:cubicBezTo>
                <a:lnTo>
                  <a:pt x="781" y="438"/>
                </a:lnTo>
                <a:close/>
                <a:moveTo>
                  <a:pt x="758" y="418"/>
                </a:moveTo>
                <a:cubicBezTo>
                  <a:pt x="757" y="405"/>
                  <a:pt x="754" y="394"/>
                  <a:pt x="748" y="387"/>
                </a:cubicBezTo>
                <a:cubicBezTo>
                  <a:pt x="742" y="380"/>
                  <a:pt x="733" y="376"/>
                  <a:pt x="722" y="376"/>
                </a:cubicBezTo>
                <a:cubicBezTo>
                  <a:pt x="711" y="376"/>
                  <a:pt x="702" y="380"/>
                  <a:pt x="694" y="388"/>
                </a:cubicBezTo>
                <a:cubicBezTo>
                  <a:pt x="687" y="395"/>
                  <a:pt x="682" y="405"/>
                  <a:pt x="680" y="418"/>
                </a:cubicBezTo>
                <a:lnTo>
                  <a:pt x="758" y="418"/>
                </a:lnTo>
                <a:close/>
                <a:moveTo>
                  <a:pt x="882" y="383"/>
                </a:moveTo>
                <a:cubicBezTo>
                  <a:pt x="878" y="380"/>
                  <a:pt x="872" y="379"/>
                  <a:pt x="865" y="379"/>
                </a:cubicBezTo>
                <a:cubicBezTo>
                  <a:pt x="854" y="379"/>
                  <a:pt x="846" y="383"/>
                  <a:pt x="840" y="393"/>
                </a:cubicBezTo>
                <a:cubicBezTo>
                  <a:pt x="833" y="403"/>
                  <a:pt x="830" y="415"/>
                  <a:pt x="830" y="430"/>
                </a:cubicBezTo>
                <a:cubicBezTo>
                  <a:pt x="830" y="504"/>
                  <a:pt x="830" y="504"/>
                  <a:pt x="830" y="504"/>
                </a:cubicBezTo>
                <a:cubicBezTo>
                  <a:pt x="807" y="504"/>
                  <a:pt x="807" y="504"/>
                  <a:pt x="807" y="504"/>
                </a:cubicBezTo>
                <a:cubicBezTo>
                  <a:pt x="807" y="360"/>
                  <a:pt x="807" y="360"/>
                  <a:pt x="807" y="360"/>
                </a:cubicBezTo>
                <a:cubicBezTo>
                  <a:pt x="830" y="360"/>
                  <a:pt x="830" y="360"/>
                  <a:pt x="830" y="360"/>
                </a:cubicBezTo>
                <a:cubicBezTo>
                  <a:pt x="830" y="390"/>
                  <a:pt x="830" y="390"/>
                  <a:pt x="830" y="390"/>
                </a:cubicBezTo>
                <a:cubicBezTo>
                  <a:pt x="831" y="390"/>
                  <a:pt x="831" y="390"/>
                  <a:pt x="831" y="390"/>
                </a:cubicBezTo>
                <a:cubicBezTo>
                  <a:pt x="834" y="380"/>
                  <a:pt x="839" y="372"/>
                  <a:pt x="846" y="366"/>
                </a:cubicBezTo>
                <a:cubicBezTo>
                  <a:pt x="852" y="360"/>
                  <a:pt x="860" y="357"/>
                  <a:pt x="868" y="357"/>
                </a:cubicBezTo>
                <a:cubicBezTo>
                  <a:pt x="874" y="357"/>
                  <a:pt x="879" y="358"/>
                  <a:pt x="882" y="359"/>
                </a:cubicBezTo>
                <a:lnTo>
                  <a:pt x="882" y="383"/>
                </a:lnTo>
                <a:close/>
                <a:moveTo>
                  <a:pt x="1024" y="360"/>
                </a:moveTo>
                <a:cubicBezTo>
                  <a:pt x="967" y="504"/>
                  <a:pt x="967" y="504"/>
                  <a:pt x="967" y="504"/>
                </a:cubicBezTo>
                <a:cubicBezTo>
                  <a:pt x="944" y="504"/>
                  <a:pt x="944" y="504"/>
                  <a:pt x="944" y="504"/>
                </a:cubicBezTo>
                <a:cubicBezTo>
                  <a:pt x="890" y="360"/>
                  <a:pt x="890" y="360"/>
                  <a:pt x="890" y="360"/>
                </a:cubicBezTo>
                <a:cubicBezTo>
                  <a:pt x="915" y="360"/>
                  <a:pt x="915" y="360"/>
                  <a:pt x="915" y="360"/>
                </a:cubicBezTo>
                <a:cubicBezTo>
                  <a:pt x="952" y="464"/>
                  <a:pt x="952" y="464"/>
                  <a:pt x="952" y="464"/>
                </a:cubicBezTo>
                <a:cubicBezTo>
                  <a:pt x="954" y="470"/>
                  <a:pt x="955" y="477"/>
                  <a:pt x="957" y="485"/>
                </a:cubicBezTo>
                <a:cubicBezTo>
                  <a:pt x="957" y="485"/>
                  <a:pt x="957" y="485"/>
                  <a:pt x="957" y="485"/>
                </a:cubicBezTo>
                <a:cubicBezTo>
                  <a:pt x="958" y="478"/>
                  <a:pt x="960" y="471"/>
                  <a:pt x="962" y="465"/>
                </a:cubicBezTo>
                <a:cubicBezTo>
                  <a:pt x="1000" y="360"/>
                  <a:pt x="1000" y="360"/>
                  <a:pt x="1000" y="360"/>
                </a:cubicBezTo>
                <a:lnTo>
                  <a:pt x="1024" y="360"/>
                </a:lnTo>
                <a:close/>
                <a:moveTo>
                  <a:pt x="1156" y="438"/>
                </a:moveTo>
                <a:cubicBezTo>
                  <a:pt x="1054" y="438"/>
                  <a:pt x="1054" y="438"/>
                  <a:pt x="1054" y="438"/>
                </a:cubicBezTo>
                <a:cubicBezTo>
                  <a:pt x="1055" y="454"/>
                  <a:pt x="1059" y="466"/>
                  <a:pt x="1067" y="475"/>
                </a:cubicBezTo>
                <a:cubicBezTo>
                  <a:pt x="1075" y="483"/>
                  <a:pt x="1087" y="488"/>
                  <a:pt x="1101" y="488"/>
                </a:cubicBezTo>
                <a:cubicBezTo>
                  <a:pt x="1118" y="488"/>
                  <a:pt x="1132" y="482"/>
                  <a:pt x="1146" y="472"/>
                </a:cubicBezTo>
                <a:cubicBezTo>
                  <a:pt x="1146" y="493"/>
                  <a:pt x="1146" y="493"/>
                  <a:pt x="1146" y="493"/>
                </a:cubicBezTo>
                <a:cubicBezTo>
                  <a:pt x="1133" y="503"/>
                  <a:pt x="1117" y="507"/>
                  <a:pt x="1096" y="507"/>
                </a:cubicBezTo>
                <a:cubicBezTo>
                  <a:pt x="1075" y="507"/>
                  <a:pt x="1059" y="501"/>
                  <a:pt x="1048" y="487"/>
                </a:cubicBezTo>
                <a:cubicBezTo>
                  <a:pt x="1036" y="474"/>
                  <a:pt x="1030" y="456"/>
                  <a:pt x="1030" y="432"/>
                </a:cubicBezTo>
                <a:cubicBezTo>
                  <a:pt x="1030" y="418"/>
                  <a:pt x="1033" y="405"/>
                  <a:pt x="1039" y="393"/>
                </a:cubicBezTo>
                <a:cubicBezTo>
                  <a:pt x="1045" y="382"/>
                  <a:pt x="1053" y="373"/>
                  <a:pt x="1063" y="366"/>
                </a:cubicBezTo>
                <a:cubicBezTo>
                  <a:pt x="1073" y="360"/>
                  <a:pt x="1084" y="356"/>
                  <a:pt x="1097" y="356"/>
                </a:cubicBezTo>
                <a:cubicBezTo>
                  <a:pt x="1115" y="356"/>
                  <a:pt x="1130" y="362"/>
                  <a:pt x="1140" y="375"/>
                </a:cubicBezTo>
                <a:cubicBezTo>
                  <a:pt x="1151" y="387"/>
                  <a:pt x="1156" y="404"/>
                  <a:pt x="1156" y="426"/>
                </a:cubicBezTo>
                <a:lnTo>
                  <a:pt x="1156" y="438"/>
                </a:lnTo>
                <a:close/>
                <a:moveTo>
                  <a:pt x="1132" y="418"/>
                </a:moveTo>
                <a:cubicBezTo>
                  <a:pt x="1132" y="405"/>
                  <a:pt x="1129" y="394"/>
                  <a:pt x="1123" y="387"/>
                </a:cubicBezTo>
                <a:cubicBezTo>
                  <a:pt x="1116" y="380"/>
                  <a:pt x="1108" y="376"/>
                  <a:pt x="1096" y="376"/>
                </a:cubicBezTo>
                <a:cubicBezTo>
                  <a:pt x="1086" y="376"/>
                  <a:pt x="1076" y="380"/>
                  <a:pt x="1069" y="388"/>
                </a:cubicBezTo>
                <a:cubicBezTo>
                  <a:pt x="1061" y="395"/>
                  <a:pt x="1057" y="405"/>
                  <a:pt x="1055" y="418"/>
                </a:cubicBezTo>
                <a:lnTo>
                  <a:pt x="1132" y="418"/>
                </a:lnTo>
                <a:close/>
                <a:moveTo>
                  <a:pt x="1257" y="383"/>
                </a:moveTo>
                <a:cubicBezTo>
                  <a:pt x="1253" y="380"/>
                  <a:pt x="1247" y="379"/>
                  <a:pt x="1239" y="379"/>
                </a:cubicBezTo>
                <a:cubicBezTo>
                  <a:pt x="1229" y="379"/>
                  <a:pt x="1221" y="383"/>
                  <a:pt x="1215" y="393"/>
                </a:cubicBezTo>
                <a:cubicBezTo>
                  <a:pt x="1208" y="403"/>
                  <a:pt x="1205" y="415"/>
                  <a:pt x="1205" y="430"/>
                </a:cubicBezTo>
                <a:cubicBezTo>
                  <a:pt x="1205" y="504"/>
                  <a:pt x="1205" y="504"/>
                  <a:pt x="1205" y="504"/>
                </a:cubicBezTo>
                <a:cubicBezTo>
                  <a:pt x="1182" y="504"/>
                  <a:pt x="1182" y="504"/>
                  <a:pt x="1182" y="504"/>
                </a:cubicBezTo>
                <a:cubicBezTo>
                  <a:pt x="1182" y="360"/>
                  <a:pt x="1182" y="360"/>
                  <a:pt x="1182" y="360"/>
                </a:cubicBezTo>
                <a:cubicBezTo>
                  <a:pt x="1205" y="360"/>
                  <a:pt x="1205" y="360"/>
                  <a:pt x="1205" y="360"/>
                </a:cubicBezTo>
                <a:cubicBezTo>
                  <a:pt x="1205" y="390"/>
                  <a:pt x="1205" y="390"/>
                  <a:pt x="1205" y="390"/>
                </a:cubicBezTo>
                <a:cubicBezTo>
                  <a:pt x="1206" y="390"/>
                  <a:pt x="1206" y="390"/>
                  <a:pt x="1206" y="390"/>
                </a:cubicBezTo>
                <a:cubicBezTo>
                  <a:pt x="1209" y="380"/>
                  <a:pt x="1214" y="372"/>
                  <a:pt x="1220" y="366"/>
                </a:cubicBezTo>
                <a:cubicBezTo>
                  <a:pt x="1227" y="360"/>
                  <a:pt x="1235" y="357"/>
                  <a:pt x="1243" y="357"/>
                </a:cubicBezTo>
                <a:cubicBezTo>
                  <a:pt x="1249" y="357"/>
                  <a:pt x="1254" y="358"/>
                  <a:pt x="1257" y="359"/>
                </a:cubicBezTo>
                <a:lnTo>
                  <a:pt x="1257" y="3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1" name="Freeform 5"/>
          <p:cNvSpPr>
            <a:spLocks noChangeAspect="1" noEditPoints="1"/>
          </p:cNvSpPr>
          <p:nvPr/>
        </p:nvSpPr>
        <p:spPr bwMode="black">
          <a:xfrm>
            <a:off x="1552290" y="1663127"/>
            <a:ext cx="1075877" cy="473574"/>
          </a:xfrm>
          <a:custGeom>
            <a:avLst/>
            <a:gdLst>
              <a:gd name="T0" fmla="*/ 533 w 804"/>
              <a:gd name="T1" fmla="*/ 115 h 352"/>
              <a:gd name="T2" fmla="*/ 529 w 804"/>
              <a:gd name="T3" fmla="*/ 169 h 352"/>
              <a:gd name="T4" fmla="*/ 535 w 804"/>
              <a:gd name="T5" fmla="*/ 225 h 352"/>
              <a:gd name="T6" fmla="*/ 616 w 804"/>
              <a:gd name="T7" fmla="*/ 238 h 352"/>
              <a:gd name="T8" fmla="*/ 578 w 804"/>
              <a:gd name="T9" fmla="*/ 203 h 352"/>
              <a:gd name="T10" fmla="*/ 542 w 804"/>
              <a:gd name="T11" fmla="*/ 150 h 352"/>
              <a:gd name="T12" fmla="*/ 601 w 804"/>
              <a:gd name="T13" fmla="*/ 150 h 352"/>
              <a:gd name="T14" fmla="*/ 642 w 804"/>
              <a:gd name="T15" fmla="*/ 235 h 352"/>
              <a:gd name="T16" fmla="*/ 668 w 804"/>
              <a:gd name="T17" fmla="*/ 148 h 352"/>
              <a:gd name="T18" fmla="*/ 645 w 804"/>
              <a:gd name="T19" fmla="*/ 170 h 352"/>
              <a:gd name="T20" fmla="*/ 688 w 804"/>
              <a:gd name="T21" fmla="*/ 221 h 352"/>
              <a:gd name="T22" fmla="*/ 720 w 804"/>
              <a:gd name="T23" fmla="*/ 220 h 352"/>
              <a:gd name="T24" fmla="*/ 738 w 804"/>
              <a:gd name="T25" fmla="*/ 240 h 352"/>
              <a:gd name="T26" fmla="*/ 718 w 804"/>
              <a:gd name="T27" fmla="*/ 154 h 352"/>
              <a:gd name="T28" fmla="*/ 774 w 804"/>
              <a:gd name="T29" fmla="*/ 198 h 352"/>
              <a:gd name="T30" fmla="*/ 721 w 804"/>
              <a:gd name="T31" fmla="*/ 167 h 352"/>
              <a:gd name="T32" fmla="*/ 790 w 804"/>
              <a:gd name="T33" fmla="*/ 238 h 352"/>
              <a:gd name="T34" fmla="*/ 255 w 804"/>
              <a:gd name="T35" fmla="*/ 204 h 352"/>
              <a:gd name="T36" fmla="*/ 255 w 804"/>
              <a:gd name="T37" fmla="*/ 204 h 352"/>
              <a:gd name="T38" fmla="*/ 311 w 804"/>
              <a:gd name="T39" fmla="*/ 160 h 352"/>
              <a:gd name="T40" fmla="*/ 311 w 804"/>
              <a:gd name="T41" fmla="*/ 276 h 352"/>
              <a:gd name="T42" fmla="*/ 255 w 804"/>
              <a:gd name="T43" fmla="*/ 144 h 352"/>
              <a:gd name="T44" fmla="*/ 255 w 804"/>
              <a:gd name="T45" fmla="*/ 72 h 352"/>
              <a:gd name="T46" fmla="*/ 255 w 804"/>
              <a:gd name="T47" fmla="*/ 72 h 352"/>
              <a:gd name="T48" fmla="*/ 255 w 804"/>
              <a:gd name="T49" fmla="*/ 248 h 352"/>
              <a:gd name="T50" fmla="*/ 311 w 804"/>
              <a:gd name="T51" fmla="*/ 204 h 352"/>
              <a:gd name="T52" fmla="*/ 311 w 804"/>
              <a:gd name="T53" fmla="*/ 188 h 352"/>
              <a:gd name="T54" fmla="*/ 255 w 804"/>
              <a:gd name="T55" fmla="*/ 144 h 352"/>
              <a:gd name="T56" fmla="*/ 255 w 804"/>
              <a:gd name="T57" fmla="*/ 144 h 352"/>
              <a:gd name="T58" fmla="*/ 311 w 804"/>
              <a:gd name="T59" fmla="*/ 72 h 352"/>
              <a:gd name="T60" fmla="*/ 208 w 804"/>
              <a:gd name="T61" fmla="*/ 0 h 352"/>
              <a:gd name="T62" fmla="*/ 208 w 804"/>
              <a:gd name="T63" fmla="*/ 312 h 352"/>
              <a:gd name="T64" fmla="*/ 339 w 804"/>
              <a:gd name="T65" fmla="*/ 36 h 352"/>
              <a:gd name="T66" fmla="*/ 99 w 804"/>
              <a:gd name="T67" fmla="*/ 194 h 352"/>
              <a:gd name="T68" fmla="*/ 97 w 804"/>
              <a:gd name="T69" fmla="*/ 190 h 352"/>
              <a:gd name="T70" fmla="*/ 78 w 804"/>
              <a:gd name="T71" fmla="*/ 237 h 352"/>
              <a:gd name="T72" fmla="*/ 81 w 804"/>
              <a:gd name="T73" fmla="*/ 112 h 352"/>
              <a:gd name="T74" fmla="*/ 98 w 804"/>
              <a:gd name="T75" fmla="*/ 157 h 352"/>
              <a:gd name="T76" fmla="*/ 100 w 804"/>
              <a:gd name="T77" fmla="*/ 155 h 352"/>
              <a:gd name="T78" fmla="*/ 146 w 804"/>
              <a:gd name="T79" fmla="*/ 108 h 352"/>
              <a:gd name="T80" fmla="*/ 339 w 804"/>
              <a:gd name="T81" fmla="*/ 300 h 352"/>
              <a:gd name="T82" fmla="*/ 239 w 804"/>
              <a:gd name="T83" fmla="*/ 248 h 352"/>
              <a:gd name="T84" fmla="*/ 239 w 804"/>
              <a:gd name="T85" fmla="*/ 204 h 352"/>
              <a:gd name="T86" fmla="*/ 239 w 804"/>
              <a:gd name="T87" fmla="*/ 160 h 352"/>
              <a:gd name="T88" fmla="*/ 239 w 804"/>
              <a:gd name="T89" fmla="*/ 116 h 352"/>
              <a:gd name="T90" fmla="*/ 239 w 804"/>
              <a:gd name="T91" fmla="*/ 72 h 352"/>
              <a:gd name="T92" fmla="*/ 339 w 804"/>
              <a:gd name="T93" fmla="*/ 300 h 352"/>
              <a:gd name="T94" fmla="*/ 311 w 804"/>
              <a:gd name="T95" fmla="*/ 276 h 352"/>
              <a:gd name="T96" fmla="*/ 255 w 804"/>
              <a:gd name="T97" fmla="*/ 232 h 352"/>
              <a:gd name="T98" fmla="*/ 255 w 804"/>
              <a:gd name="T99" fmla="*/ 160 h 352"/>
              <a:gd name="T100" fmla="*/ 311 w 804"/>
              <a:gd name="T101" fmla="*/ 116 h 352"/>
              <a:gd name="T102" fmla="*/ 311 w 804"/>
              <a:gd name="T103" fmla="*/ 116 h 352"/>
              <a:gd name="T104" fmla="*/ 311 w 804"/>
              <a:gd name="T105" fmla="*/ 10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04" h="352">
                <a:moveTo>
                  <a:pt x="535" y="238"/>
                </a:moveTo>
                <a:cubicBezTo>
                  <a:pt x="470" y="238"/>
                  <a:pt x="470" y="238"/>
                  <a:pt x="470" y="238"/>
                </a:cubicBezTo>
                <a:cubicBezTo>
                  <a:pt x="470" y="115"/>
                  <a:pt x="470" y="115"/>
                  <a:pt x="470" y="115"/>
                </a:cubicBezTo>
                <a:cubicBezTo>
                  <a:pt x="533" y="115"/>
                  <a:pt x="533" y="115"/>
                  <a:pt x="533" y="115"/>
                </a:cubicBezTo>
                <a:cubicBezTo>
                  <a:pt x="533" y="128"/>
                  <a:pt x="533" y="128"/>
                  <a:pt x="533" y="128"/>
                </a:cubicBezTo>
                <a:cubicBezTo>
                  <a:pt x="485" y="128"/>
                  <a:pt x="485" y="128"/>
                  <a:pt x="485" y="128"/>
                </a:cubicBezTo>
                <a:cubicBezTo>
                  <a:pt x="485" y="169"/>
                  <a:pt x="485" y="169"/>
                  <a:pt x="485" y="169"/>
                </a:cubicBezTo>
                <a:cubicBezTo>
                  <a:pt x="529" y="169"/>
                  <a:pt x="529" y="169"/>
                  <a:pt x="529" y="169"/>
                </a:cubicBezTo>
                <a:cubicBezTo>
                  <a:pt x="529" y="182"/>
                  <a:pt x="529" y="182"/>
                  <a:pt x="529" y="182"/>
                </a:cubicBezTo>
                <a:cubicBezTo>
                  <a:pt x="485" y="182"/>
                  <a:pt x="485" y="182"/>
                  <a:pt x="485" y="182"/>
                </a:cubicBezTo>
                <a:cubicBezTo>
                  <a:pt x="485" y="225"/>
                  <a:pt x="485" y="225"/>
                  <a:pt x="485" y="225"/>
                </a:cubicBezTo>
                <a:cubicBezTo>
                  <a:pt x="535" y="225"/>
                  <a:pt x="535" y="225"/>
                  <a:pt x="535" y="225"/>
                </a:cubicBezTo>
                <a:lnTo>
                  <a:pt x="535" y="238"/>
                </a:lnTo>
                <a:close/>
                <a:moveTo>
                  <a:pt x="617" y="150"/>
                </a:moveTo>
                <a:cubicBezTo>
                  <a:pt x="587" y="195"/>
                  <a:pt x="587" y="195"/>
                  <a:pt x="587" y="195"/>
                </a:cubicBezTo>
                <a:cubicBezTo>
                  <a:pt x="616" y="238"/>
                  <a:pt x="616" y="238"/>
                  <a:pt x="616" y="238"/>
                </a:cubicBezTo>
                <a:cubicBezTo>
                  <a:pt x="600" y="238"/>
                  <a:pt x="600" y="238"/>
                  <a:pt x="600" y="238"/>
                </a:cubicBezTo>
                <a:cubicBezTo>
                  <a:pt x="583" y="210"/>
                  <a:pt x="583" y="210"/>
                  <a:pt x="583" y="210"/>
                </a:cubicBezTo>
                <a:cubicBezTo>
                  <a:pt x="579" y="203"/>
                  <a:pt x="579" y="203"/>
                  <a:pt x="579" y="203"/>
                </a:cubicBezTo>
                <a:cubicBezTo>
                  <a:pt x="578" y="203"/>
                  <a:pt x="578" y="203"/>
                  <a:pt x="578" y="203"/>
                </a:cubicBezTo>
                <a:cubicBezTo>
                  <a:pt x="557" y="238"/>
                  <a:pt x="557" y="238"/>
                  <a:pt x="557" y="238"/>
                </a:cubicBezTo>
                <a:cubicBezTo>
                  <a:pt x="541" y="238"/>
                  <a:pt x="541" y="238"/>
                  <a:pt x="541" y="238"/>
                </a:cubicBezTo>
                <a:cubicBezTo>
                  <a:pt x="571" y="195"/>
                  <a:pt x="571" y="195"/>
                  <a:pt x="571" y="195"/>
                </a:cubicBezTo>
                <a:cubicBezTo>
                  <a:pt x="542" y="150"/>
                  <a:pt x="542" y="150"/>
                  <a:pt x="542" y="150"/>
                </a:cubicBezTo>
                <a:cubicBezTo>
                  <a:pt x="558" y="150"/>
                  <a:pt x="558" y="150"/>
                  <a:pt x="558" y="150"/>
                </a:cubicBezTo>
                <a:cubicBezTo>
                  <a:pt x="570" y="172"/>
                  <a:pt x="577" y="184"/>
                  <a:pt x="579" y="187"/>
                </a:cubicBezTo>
                <a:cubicBezTo>
                  <a:pt x="579" y="187"/>
                  <a:pt x="579" y="187"/>
                  <a:pt x="579" y="187"/>
                </a:cubicBezTo>
                <a:cubicBezTo>
                  <a:pt x="601" y="150"/>
                  <a:pt x="601" y="150"/>
                  <a:pt x="601" y="150"/>
                </a:cubicBezTo>
                <a:lnTo>
                  <a:pt x="617" y="150"/>
                </a:lnTo>
                <a:close/>
                <a:moveTo>
                  <a:pt x="688" y="234"/>
                </a:moveTo>
                <a:cubicBezTo>
                  <a:pt x="681" y="238"/>
                  <a:pt x="673" y="240"/>
                  <a:pt x="664" y="240"/>
                </a:cubicBezTo>
                <a:cubicBezTo>
                  <a:pt x="656" y="240"/>
                  <a:pt x="649" y="239"/>
                  <a:pt x="642" y="235"/>
                </a:cubicBezTo>
                <a:cubicBezTo>
                  <a:pt x="636" y="231"/>
                  <a:pt x="631" y="226"/>
                  <a:pt x="627" y="219"/>
                </a:cubicBezTo>
                <a:cubicBezTo>
                  <a:pt x="624" y="212"/>
                  <a:pt x="622" y="205"/>
                  <a:pt x="622" y="196"/>
                </a:cubicBezTo>
                <a:cubicBezTo>
                  <a:pt x="622" y="182"/>
                  <a:pt x="626" y="170"/>
                  <a:pt x="634" y="161"/>
                </a:cubicBezTo>
                <a:cubicBezTo>
                  <a:pt x="643" y="152"/>
                  <a:pt x="654" y="148"/>
                  <a:pt x="668" y="148"/>
                </a:cubicBezTo>
                <a:cubicBezTo>
                  <a:pt x="675" y="148"/>
                  <a:pt x="682" y="150"/>
                  <a:pt x="688" y="153"/>
                </a:cubicBezTo>
                <a:cubicBezTo>
                  <a:pt x="688" y="167"/>
                  <a:pt x="688" y="167"/>
                  <a:pt x="688" y="167"/>
                </a:cubicBezTo>
                <a:cubicBezTo>
                  <a:pt x="681" y="162"/>
                  <a:pt x="674" y="160"/>
                  <a:pt x="667" y="160"/>
                </a:cubicBezTo>
                <a:cubicBezTo>
                  <a:pt x="658" y="160"/>
                  <a:pt x="651" y="163"/>
                  <a:pt x="645" y="170"/>
                </a:cubicBezTo>
                <a:cubicBezTo>
                  <a:pt x="639" y="176"/>
                  <a:pt x="636" y="185"/>
                  <a:pt x="636" y="195"/>
                </a:cubicBezTo>
                <a:cubicBezTo>
                  <a:pt x="636" y="205"/>
                  <a:pt x="639" y="213"/>
                  <a:pt x="644" y="219"/>
                </a:cubicBezTo>
                <a:cubicBezTo>
                  <a:pt x="650" y="225"/>
                  <a:pt x="657" y="228"/>
                  <a:pt x="666" y="228"/>
                </a:cubicBezTo>
                <a:cubicBezTo>
                  <a:pt x="674" y="228"/>
                  <a:pt x="681" y="226"/>
                  <a:pt x="688" y="221"/>
                </a:cubicBezTo>
                <a:lnTo>
                  <a:pt x="688" y="234"/>
                </a:lnTo>
                <a:close/>
                <a:moveTo>
                  <a:pt x="774" y="198"/>
                </a:moveTo>
                <a:cubicBezTo>
                  <a:pt x="712" y="198"/>
                  <a:pt x="712" y="198"/>
                  <a:pt x="712" y="198"/>
                </a:cubicBezTo>
                <a:cubicBezTo>
                  <a:pt x="713" y="208"/>
                  <a:pt x="715" y="215"/>
                  <a:pt x="720" y="220"/>
                </a:cubicBezTo>
                <a:cubicBezTo>
                  <a:pt x="725" y="226"/>
                  <a:pt x="732" y="228"/>
                  <a:pt x="741" y="228"/>
                </a:cubicBezTo>
                <a:cubicBezTo>
                  <a:pt x="751" y="228"/>
                  <a:pt x="760" y="225"/>
                  <a:pt x="768" y="219"/>
                </a:cubicBezTo>
                <a:cubicBezTo>
                  <a:pt x="768" y="232"/>
                  <a:pt x="768" y="232"/>
                  <a:pt x="768" y="232"/>
                </a:cubicBezTo>
                <a:cubicBezTo>
                  <a:pt x="761" y="238"/>
                  <a:pt x="750" y="240"/>
                  <a:pt x="738" y="240"/>
                </a:cubicBezTo>
                <a:cubicBezTo>
                  <a:pt x="725" y="240"/>
                  <a:pt x="715" y="236"/>
                  <a:pt x="708" y="228"/>
                </a:cubicBezTo>
                <a:cubicBezTo>
                  <a:pt x="701" y="220"/>
                  <a:pt x="698" y="209"/>
                  <a:pt x="698" y="195"/>
                </a:cubicBezTo>
                <a:cubicBezTo>
                  <a:pt x="698" y="186"/>
                  <a:pt x="700" y="178"/>
                  <a:pt x="703" y="171"/>
                </a:cubicBezTo>
                <a:cubicBezTo>
                  <a:pt x="707" y="164"/>
                  <a:pt x="711" y="158"/>
                  <a:pt x="718" y="154"/>
                </a:cubicBezTo>
                <a:cubicBezTo>
                  <a:pt x="724" y="150"/>
                  <a:pt x="731" y="148"/>
                  <a:pt x="738" y="148"/>
                </a:cubicBezTo>
                <a:cubicBezTo>
                  <a:pt x="750" y="148"/>
                  <a:pt x="759" y="152"/>
                  <a:pt x="765" y="159"/>
                </a:cubicBezTo>
                <a:cubicBezTo>
                  <a:pt x="771" y="167"/>
                  <a:pt x="774" y="177"/>
                  <a:pt x="774" y="190"/>
                </a:cubicBezTo>
                <a:lnTo>
                  <a:pt x="774" y="198"/>
                </a:lnTo>
                <a:close/>
                <a:moveTo>
                  <a:pt x="760" y="186"/>
                </a:moveTo>
                <a:cubicBezTo>
                  <a:pt x="760" y="178"/>
                  <a:pt x="758" y="171"/>
                  <a:pt x="754" y="167"/>
                </a:cubicBezTo>
                <a:cubicBezTo>
                  <a:pt x="750" y="162"/>
                  <a:pt x="745" y="160"/>
                  <a:pt x="738" y="160"/>
                </a:cubicBezTo>
                <a:cubicBezTo>
                  <a:pt x="732" y="160"/>
                  <a:pt x="726" y="162"/>
                  <a:pt x="721" y="167"/>
                </a:cubicBezTo>
                <a:cubicBezTo>
                  <a:pt x="717" y="172"/>
                  <a:pt x="714" y="178"/>
                  <a:pt x="713" y="186"/>
                </a:cubicBezTo>
                <a:lnTo>
                  <a:pt x="760" y="186"/>
                </a:lnTo>
                <a:close/>
                <a:moveTo>
                  <a:pt x="804" y="238"/>
                </a:moveTo>
                <a:cubicBezTo>
                  <a:pt x="790" y="238"/>
                  <a:pt x="790" y="238"/>
                  <a:pt x="790" y="238"/>
                </a:cubicBezTo>
                <a:cubicBezTo>
                  <a:pt x="790" y="108"/>
                  <a:pt x="790" y="108"/>
                  <a:pt x="790" y="108"/>
                </a:cubicBezTo>
                <a:cubicBezTo>
                  <a:pt x="804" y="108"/>
                  <a:pt x="804" y="108"/>
                  <a:pt x="804" y="108"/>
                </a:cubicBezTo>
                <a:lnTo>
                  <a:pt x="804" y="238"/>
                </a:lnTo>
                <a:close/>
                <a:moveTo>
                  <a:pt x="255" y="204"/>
                </a:moveTo>
                <a:cubicBezTo>
                  <a:pt x="255" y="232"/>
                  <a:pt x="255" y="232"/>
                  <a:pt x="255" y="232"/>
                </a:cubicBezTo>
                <a:cubicBezTo>
                  <a:pt x="311" y="232"/>
                  <a:pt x="311" y="232"/>
                  <a:pt x="311" y="232"/>
                </a:cubicBezTo>
                <a:cubicBezTo>
                  <a:pt x="311" y="204"/>
                  <a:pt x="311" y="204"/>
                  <a:pt x="311" y="204"/>
                </a:cubicBezTo>
                <a:lnTo>
                  <a:pt x="255" y="204"/>
                </a:lnTo>
                <a:close/>
                <a:moveTo>
                  <a:pt x="255" y="160"/>
                </a:moveTo>
                <a:cubicBezTo>
                  <a:pt x="255" y="188"/>
                  <a:pt x="255" y="188"/>
                  <a:pt x="255" y="188"/>
                </a:cubicBezTo>
                <a:cubicBezTo>
                  <a:pt x="311" y="188"/>
                  <a:pt x="311" y="188"/>
                  <a:pt x="311" y="188"/>
                </a:cubicBezTo>
                <a:cubicBezTo>
                  <a:pt x="311" y="160"/>
                  <a:pt x="311" y="160"/>
                  <a:pt x="311" y="160"/>
                </a:cubicBezTo>
                <a:lnTo>
                  <a:pt x="255" y="160"/>
                </a:lnTo>
                <a:close/>
                <a:moveTo>
                  <a:pt x="255" y="248"/>
                </a:moveTo>
                <a:cubicBezTo>
                  <a:pt x="255" y="276"/>
                  <a:pt x="255" y="276"/>
                  <a:pt x="255" y="276"/>
                </a:cubicBezTo>
                <a:cubicBezTo>
                  <a:pt x="311" y="276"/>
                  <a:pt x="311" y="276"/>
                  <a:pt x="311" y="276"/>
                </a:cubicBezTo>
                <a:cubicBezTo>
                  <a:pt x="311" y="248"/>
                  <a:pt x="311" y="248"/>
                  <a:pt x="311" y="248"/>
                </a:cubicBezTo>
                <a:lnTo>
                  <a:pt x="255" y="248"/>
                </a:lnTo>
                <a:close/>
                <a:moveTo>
                  <a:pt x="255" y="116"/>
                </a:moveTo>
                <a:cubicBezTo>
                  <a:pt x="255" y="144"/>
                  <a:pt x="255" y="144"/>
                  <a:pt x="255" y="144"/>
                </a:cubicBezTo>
                <a:cubicBezTo>
                  <a:pt x="311" y="144"/>
                  <a:pt x="311" y="144"/>
                  <a:pt x="311" y="144"/>
                </a:cubicBezTo>
                <a:cubicBezTo>
                  <a:pt x="311" y="116"/>
                  <a:pt x="311" y="116"/>
                  <a:pt x="311" y="116"/>
                </a:cubicBezTo>
                <a:lnTo>
                  <a:pt x="255" y="116"/>
                </a:lnTo>
                <a:close/>
                <a:moveTo>
                  <a:pt x="255" y="72"/>
                </a:moveTo>
                <a:cubicBezTo>
                  <a:pt x="255" y="100"/>
                  <a:pt x="255" y="100"/>
                  <a:pt x="255" y="100"/>
                </a:cubicBezTo>
                <a:cubicBezTo>
                  <a:pt x="311" y="100"/>
                  <a:pt x="311" y="100"/>
                  <a:pt x="311" y="100"/>
                </a:cubicBezTo>
                <a:cubicBezTo>
                  <a:pt x="311" y="72"/>
                  <a:pt x="311" y="72"/>
                  <a:pt x="311" y="72"/>
                </a:cubicBezTo>
                <a:lnTo>
                  <a:pt x="255" y="72"/>
                </a:lnTo>
                <a:close/>
                <a:moveTo>
                  <a:pt x="255" y="276"/>
                </a:moveTo>
                <a:cubicBezTo>
                  <a:pt x="311" y="276"/>
                  <a:pt x="311" y="276"/>
                  <a:pt x="311" y="276"/>
                </a:cubicBezTo>
                <a:cubicBezTo>
                  <a:pt x="311" y="248"/>
                  <a:pt x="311" y="248"/>
                  <a:pt x="311" y="248"/>
                </a:cubicBezTo>
                <a:cubicBezTo>
                  <a:pt x="255" y="248"/>
                  <a:pt x="255" y="248"/>
                  <a:pt x="255" y="248"/>
                </a:cubicBezTo>
                <a:lnTo>
                  <a:pt x="255" y="276"/>
                </a:lnTo>
                <a:close/>
                <a:moveTo>
                  <a:pt x="255" y="232"/>
                </a:moveTo>
                <a:cubicBezTo>
                  <a:pt x="311" y="232"/>
                  <a:pt x="311" y="232"/>
                  <a:pt x="311" y="232"/>
                </a:cubicBezTo>
                <a:cubicBezTo>
                  <a:pt x="311" y="204"/>
                  <a:pt x="311" y="204"/>
                  <a:pt x="311" y="204"/>
                </a:cubicBezTo>
                <a:cubicBezTo>
                  <a:pt x="255" y="204"/>
                  <a:pt x="255" y="204"/>
                  <a:pt x="255" y="204"/>
                </a:cubicBezTo>
                <a:lnTo>
                  <a:pt x="255" y="232"/>
                </a:lnTo>
                <a:close/>
                <a:moveTo>
                  <a:pt x="255" y="188"/>
                </a:moveTo>
                <a:cubicBezTo>
                  <a:pt x="311" y="188"/>
                  <a:pt x="311" y="188"/>
                  <a:pt x="311" y="188"/>
                </a:cubicBezTo>
                <a:cubicBezTo>
                  <a:pt x="311" y="160"/>
                  <a:pt x="311" y="160"/>
                  <a:pt x="311" y="160"/>
                </a:cubicBezTo>
                <a:cubicBezTo>
                  <a:pt x="255" y="160"/>
                  <a:pt x="255" y="160"/>
                  <a:pt x="255" y="160"/>
                </a:cubicBezTo>
                <a:lnTo>
                  <a:pt x="255" y="188"/>
                </a:lnTo>
                <a:close/>
                <a:moveTo>
                  <a:pt x="255" y="144"/>
                </a:moveTo>
                <a:cubicBezTo>
                  <a:pt x="311" y="144"/>
                  <a:pt x="311" y="144"/>
                  <a:pt x="311" y="144"/>
                </a:cubicBezTo>
                <a:cubicBezTo>
                  <a:pt x="311" y="116"/>
                  <a:pt x="311" y="116"/>
                  <a:pt x="311" y="116"/>
                </a:cubicBezTo>
                <a:cubicBezTo>
                  <a:pt x="255" y="116"/>
                  <a:pt x="255" y="116"/>
                  <a:pt x="255" y="116"/>
                </a:cubicBezTo>
                <a:lnTo>
                  <a:pt x="255" y="144"/>
                </a:lnTo>
                <a:close/>
                <a:moveTo>
                  <a:pt x="255" y="72"/>
                </a:moveTo>
                <a:cubicBezTo>
                  <a:pt x="255" y="100"/>
                  <a:pt x="255" y="100"/>
                  <a:pt x="255" y="100"/>
                </a:cubicBezTo>
                <a:cubicBezTo>
                  <a:pt x="311" y="100"/>
                  <a:pt x="311" y="100"/>
                  <a:pt x="311" y="100"/>
                </a:cubicBezTo>
                <a:cubicBezTo>
                  <a:pt x="311" y="72"/>
                  <a:pt x="311" y="72"/>
                  <a:pt x="311" y="72"/>
                </a:cubicBezTo>
                <a:lnTo>
                  <a:pt x="255" y="72"/>
                </a:lnTo>
                <a:close/>
                <a:moveTo>
                  <a:pt x="339" y="36"/>
                </a:moveTo>
                <a:cubicBezTo>
                  <a:pt x="208" y="36"/>
                  <a:pt x="208" y="36"/>
                  <a:pt x="208" y="36"/>
                </a:cubicBezTo>
                <a:cubicBezTo>
                  <a:pt x="208" y="0"/>
                  <a:pt x="208" y="0"/>
                  <a:pt x="208" y="0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16"/>
                  <a:pt x="0" y="316"/>
                  <a:pt x="0" y="316"/>
                </a:cubicBezTo>
                <a:cubicBezTo>
                  <a:pt x="208" y="352"/>
                  <a:pt x="208" y="352"/>
                  <a:pt x="208" y="35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340" y="312"/>
                  <a:pt x="340" y="312"/>
                  <a:pt x="340" y="312"/>
                </a:cubicBezTo>
                <a:cubicBezTo>
                  <a:pt x="347" y="312"/>
                  <a:pt x="351" y="307"/>
                  <a:pt x="351" y="300"/>
                </a:cubicBezTo>
                <a:cubicBezTo>
                  <a:pt x="351" y="48"/>
                  <a:pt x="351" y="48"/>
                  <a:pt x="351" y="48"/>
                </a:cubicBezTo>
                <a:cubicBezTo>
                  <a:pt x="351" y="42"/>
                  <a:pt x="346" y="36"/>
                  <a:pt x="339" y="36"/>
                </a:cubicBezTo>
                <a:close/>
                <a:moveTo>
                  <a:pt x="118" y="239"/>
                </a:moveTo>
                <a:cubicBezTo>
                  <a:pt x="100" y="197"/>
                  <a:pt x="100" y="197"/>
                  <a:pt x="100" y="197"/>
                </a:cubicBezTo>
                <a:cubicBezTo>
                  <a:pt x="100" y="196"/>
                  <a:pt x="100" y="196"/>
                  <a:pt x="100" y="195"/>
                </a:cubicBezTo>
                <a:cubicBezTo>
                  <a:pt x="99" y="195"/>
                  <a:pt x="99" y="194"/>
                  <a:pt x="99" y="194"/>
                </a:cubicBezTo>
                <a:cubicBezTo>
                  <a:pt x="99" y="193"/>
                  <a:pt x="99" y="192"/>
                  <a:pt x="99" y="191"/>
                </a:cubicBezTo>
                <a:cubicBezTo>
                  <a:pt x="98" y="190"/>
                  <a:pt x="98" y="189"/>
                  <a:pt x="98" y="188"/>
                </a:cubicBezTo>
                <a:cubicBezTo>
                  <a:pt x="98" y="188"/>
                  <a:pt x="98" y="188"/>
                  <a:pt x="98" y="188"/>
                </a:cubicBezTo>
                <a:cubicBezTo>
                  <a:pt x="98" y="189"/>
                  <a:pt x="97" y="189"/>
                  <a:pt x="97" y="190"/>
                </a:cubicBezTo>
                <a:cubicBezTo>
                  <a:pt x="97" y="190"/>
                  <a:pt x="97" y="191"/>
                  <a:pt x="97" y="192"/>
                </a:cubicBezTo>
                <a:cubicBezTo>
                  <a:pt x="97" y="193"/>
                  <a:pt x="96" y="193"/>
                  <a:pt x="96" y="194"/>
                </a:cubicBezTo>
                <a:cubicBezTo>
                  <a:pt x="96" y="195"/>
                  <a:pt x="96" y="196"/>
                  <a:pt x="95" y="197"/>
                </a:cubicBezTo>
                <a:cubicBezTo>
                  <a:pt x="78" y="237"/>
                  <a:pt x="78" y="237"/>
                  <a:pt x="78" y="237"/>
                </a:cubicBezTo>
                <a:cubicBezTo>
                  <a:pt x="52" y="235"/>
                  <a:pt x="52" y="235"/>
                  <a:pt x="52" y="235"/>
                </a:cubicBezTo>
                <a:cubicBezTo>
                  <a:pt x="83" y="175"/>
                  <a:pt x="83" y="175"/>
                  <a:pt x="83" y="175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81" y="112"/>
                  <a:pt x="81" y="112"/>
                  <a:pt x="81" y="11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50"/>
                  <a:pt x="96" y="151"/>
                  <a:pt x="97" y="152"/>
                </a:cubicBezTo>
                <a:cubicBezTo>
                  <a:pt x="97" y="152"/>
                  <a:pt x="97" y="153"/>
                  <a:pt x="97" y="154"/>
                </a:cubicBezTo>
                <a:cubicBezTo>
                  <a:pt x="98" y="155"/>
                  <a:pt x="98" y="156"/>
                  <a:pt x="98" y="157"/>
                </a:cubicBezTo>
                <a:cubicBezTo>
                  <a:pt x="98" y="158"/>
                  <a:pt x="98" y="159"/>
                  <a:pt x="99" y="160"/>
                </a:cubicBezTo>
                <a:cubicBezTo>
                  <a:pt x="99" y="160"/>
                  <a:pt x="99" y="160"/>
                  <a:pt x="99" y="160"/>
                </a:cubicBezTo>
                <a:cubicBezTo>
                  <a:pt x="99" y="159"/>
                  <a:pt x="99" y="159"/>
                  <a:pt x="100" y="158"/>
                </a:cubicBezTo>
                <a:cubicBezTo>
                  <a:pt x="100" y="157"/>
                  <a:pt x="100" y="156"/>
                  <a:pt x="100" y="155"/>
                </a:cubicBezTo>
                <a:cubicBezTo>
                  <a:pt x="100" y="154"/>
                  <a:pt x="101" y="153"/>
                  <a:pt x="101" y="152"/>
                </a:cubicBezTo>
                <a:cubicBezTo>
                  <a:pt x="101" y="151"/>
                  <a:pt x="102" y="150"/>
                  <a:pt x="102" y="149"/>
                </a:cubicBezTo>
                <a:cubicBezTo>
                  <a:pt x="119" y="110"/>
                  <a:pt x="119" y="110"/>
                  <a:pt x="119" y="110"/>
                </a:cubicBezTo>
                <a:cubicBezTo>
                  <a:pt x="146" y="108"/>
                  <a:pt x="146" y="108"/>
                  <a:pt x="146" y="108"/>
                </a:cubicBezTo>
                <a:cubicBezTo>
                  <a:pt x="114" y="174"/>
                  <a:pt x="114" y="174"/>
                  <a:pt x="114" y="174"/>
                </a:cubicBezTo>
                <a:cubicBezTo>
                  <a:pt x="147" y="241"/>
                  <a:pt x="147" y="241"/>
                  <a:pt x="147" y="241"/>
                </a:cubicBezTo>
                <a:lnTo>
                  <a:pt x="118" y="239"/>
                </a:lnTo>
                <a:close/>
                <a:moveTo>
                  <a:pt x="339" y="300"/>
                </a:moveTo>
                <a:cubicBezTo>
                  <a:pt x="208" y="300"/>
                  <a:pt x="208" y="300"/>
                  <a:pt x="208" y="300"/>
                </a:cubicBezTo>
                <a:cubicBezTo>
                  <a:pt x="208" y="276"/>
                  <a:pt x="208" y="276"/>
                  <a:pt x="208" y="276"/>
                </a:cubicBezTo>
                <a:cubicBezTo>
                  <a:pt x="239" y="276"/>
                  <a:pt x="239" y="276"/>
                  <a:pt x="239" y="276"/>
                </a:cubicBezTo>
                <a:cubicBezTo>
                  <a:pt x="239" y="248"/>
                  <a:pt x="239" y="248"/>
                  <a:pt x="239" y="248"/>
                </a:cubicBezTo>
                <a:cubicBezTo>
                  <a:pt x="208" y="248"/>
                  <a:pt x="208" y="248"/>
                  <a:pt x="208" y="248"/>
                </a:cubicBezTo>
                <a:cubicBezTo>
                  <a:pt x="208" y="232"/>
                  <a:pt x="208" y="232"/>
                  <a:pt x="208" y="232"/>
                </a:cubicBezTo>
                <a:cubicBezTo>
                  <a:pt x="239" y="232"/>
                  <a:pt x="239" y="232"/>
                  <a:pt x="239" y="232"/>
                </a:cubicBezTo>
                <a:cubicBezTo>
                  <a:pt x="239" y="204"/>
                  <a:pt x="239" y="204"/>
                  <a:pt x="239" y="204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8" y="188"/>
                  <a:pt x="208" y="188"/>
                  <a:pt x="208" y="188"/>
                </a:cubicBezTo>
                <a:cubicBezTo>
                  <a:pt x="239" y="188"/>
                  <a:pt x="239" y="188"/>
                  <a:pt x="239" y="188"/>
                </a:cubicBezTo>
                <a:cubicBezTo>
                  <a:pt x="239" y="160"/>
                  <a:pt x="239" y="160"/>
                  <a:pt x="239" y="160"/>
                </a:cubicBezTo>
                <a:cubicBezTo>
                  <a:pt x="208" y="160"/>
                  <a:pt x="208" y="160"/>
                  <a:pt x="208" y="160"/>
                </a:cubicBezTo>
                <a:cubicBezTo>
                  <a:pt x="208" y="144"/>
                  <a:pt x="208" y="144"/>
                  <a:pt x="208" y="144"/>
                </a:cubicBezTo>
                <a:cubicBezTo>
                  <a:pt x="239" y="144"/>
                  <a:pt x="239" y="144"/>
                  <a:pt x="239" y="144"/>
                </a:cubicBezTo>
                <a:cubicBezTo>
                  <a:pt x="239" y="116"/>
                  <a:pt x="239" y="116"/>
                  <a:pt x="239" y="116"/>
                </a:cubicBezTo>
                <a:cubicBezTo>
                  <a:pt x="208" y="116"/>
                  <a:pt x="208" y="116"/>
                  <a:pt x="208" y="116"/>
                </a:cubicBezTo>
                <a:cubicBezTo>
                  <a:pt x="208" y="100"/>
                  <a:pt x="208" y="100"/>
                  <a:pt x="208" y="100"/>
                </a:cubicBezTo>
                <a:cubicBezTo>
                  <a:pt x="239" y="100"/>
                  <a:pt x="239" y="100"/>
                  <a:pt x="239" y="100"/>
                </a:cubicBezTo>
                <a:cubicBezTo>
                  <a:pt x="239" y="72"/>
                  <a:pt x="239" y="72"/>
                  <a:pt x="239" y="72"/>
                </a:cubicBezTo>
                <a:cubicBezTo>
                  <a:pt x="208" y="72"/>
                  <a:pt x="208" y="72"/>
                  <a:pt x="208" y="72"/>
                </a:cubicBezTo>
                <a:cubicBezTo>
                  <a:pt x="208" y="48"/>
                  <a:pt x="208" y="48"/>
                  <a:pt x="208" y="48"/>
                </a:cubicBezTo>
                <a:cubicBezTo>
                  <a:pt x="339" y="48"/>
                  <a:pt x="339" y="48"/>
                  <a:pt x="339" y="48"/>
                </a:cubicBezTo>
                <a:lnTo>
                  <a:pt x="339" y="300"/>
                </a:lnTo>
                <a:close/>
                <a:moveTo>
                  <a:pt x="311" y="248"/>
                </a:moveTo>
                <a:cubicBezTo>
                  <a:pt x="255" y="248"/>
                  <a:pt x="255" y="248"/>
                  <a:pt x="255" y="248"/>
                </a:cubicBezTo>
                <a:cubicBezTo>
                  <a:pt x="255" y="276"/>
                  <a:pt x="255" y="276"/>
                  <a:pt x="255" y="276"/>
                </a:cubicBezTo>
                <a:cubicBezTo>
                  <a:pt x="311" y="276"/>
                  <a:pt x="311" y="276"/>
                  <a:pt x="311" y="276"/>
                </a:cubicBezTo>
                <a:lnTo>
                  <a:pt x="311" y="248"/>
                </a:lnTo>
                <a:close/>
                <a:moveTo>
                  <a:pt x="311" y="204"/>
                </a:moveTo>
                <a:cubicBezTo>
                  <a:pt x="255" y="204"/>
                  <a:pt x="255" y="204"/>
                  <a:pt x="255" y="204"/>
                </a:cubicBezTo>
                <a:cubicBezTo>
                  <a:pt x="255" y="232"/>
                  <a:pt x="255" y="232"/>
                  <a:pt x="255" y="232"/>
                </a:cubicBezTo>
                <a:cubicBezTo>
                  <a:pt x="311" y="232"/>
                  <a:pt x="311" y="232"/>
                  <a:pt x="311" y="232"/>
                </a:cubicBezTo>
                <a:lnTo>
                  <a:pt x="311" y="204"/>
                </a:lnTo>
                <a:close/>
                <a:moveTo>
                  <a:pt x="311" y="160"/>
                </a:moveTo>
                <a:cubicBezTo>
                  <a:pt x="255" y="160"/>
                  <a:pt x="255" y="160"/>
                  <a:pt x="255" y="160"/>
                </a:cubicBezTo>
                <a:cubicBezTo>
                  <a:pt x="255" y="188"/>
                  <a:pt x="255" y="188"/>
                  <a:pt x="255" y="188"/>
                </a:cubicBezTo>
                <a:cubicBezTo>
                  <a:pt x="311" y="188"/>
                  <a:pt x="311" y="188"/>
                  <a:pt x="311" y="188"/>
                </a:cubicBezTo>
                <a:lnTo>
                  <a:pt x="311" y="160"/>
                </a:lnTo>
                <a:close/>
                <a:moveTo>
                  <a:pt x="311" y="116"/>
                </a:moveTo>
                <a:cubicBezTo>
                  <a:pt x="255" y="116"/>
                  <a:pt x="255" y="116"/>
                  <a:pt x="255" y="116"/>
                </a:cubicBezTo>
                <a:cubicBezTo>
                  <a:pt x="255" y="144"/>
                  <a:pt x="255" y="144"/>
                  <a:pt x="255" y="144"/>
                </a:cubicBezTo>
                <a:cubicBezTo>
                  <a:pt x="311" y="144"/>
                  <a:pt x="311" y="144"/>
                  <a:pt x="311" y="144"/>
                </a:cubicBezTo>
                <a:lnTo>
                  <a:pt x="311" y="116"/>
                </a:lnTo>
                <a:close/>
                <a:moveTo>
                  <a:pt x="311" y="72"/>
                </a:moveTo>
                <a:cubicBezTo>
                  <a:pt x="255" y="72"/>
                  <a:pt x="255" y="72"/>
                  <a:pt x="255" y="72"/>
                </a:cubicBezTo>
                <a:cubicBezTo>
                  <a:pt x="255" y="100"/>
                  <a:pt x="255" y="100"/>
                  <a:pt x="255" y="100"/>
                </a:cubicBezTo>
                <a:cubicBezTo>
                  <a:pt x="311" y="100"/>
                  <a:pt x="311" y="100"/>
                  <a:pt x="311" y="100"/>
                </a:cubicBezTo>
                <a:lnTo>
                  <a:pt x="311" y="72"/>
                </a:lnTo>
                <a:close/>
              </a:path>
            </a:pathLst>
          </a:custGeom>
          <a:solidFill>
            <a:srgbClr val="107C10"/>
          </a:solidFill>
          <a:ln>
            <a:noFill/>
          </a:ln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37" name="Picture 136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DFDFD">
                  <a:alpha val="99216"/>
                </a:srgbClr>
              </a:clrFrom>
              <a:clrTo>
                <a:srgbClr val="FDFDFD">
                  <a:alpha val="0"/>
                </a:srgbClr>
              </a:clrTo>
            </a:clrChange>
          </a:blip>
          <a:srcRect l="20864" r="25065"/>
          <a:stretch/>
        </p:blipFill>
        <p:spPr>
          <a:xfrm>
            <a:off x="4397537" y="723698"/>
            <a:ext cx="729934" cy="597032"/>
          </a:xfrm>
          <a:prstGeom prst="rect">
            <a:avLst/>
          </a:prstGeom>
        </p:spPr>
      </p:pic>
      <p:pic>
        <p:nvPicPr>
          <p:cNvPr id="138" name="Picture 1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7472" y="1922565"/>
            <a:ext cx="1338328" cy="396480"/>
          </a:xfrm>
          <a:prstGeom prst="rect">
            <a:avLst/>
          </a:prstGeom>
        </p:spPr>
      </p:pic>
      <p:grpSp>
        <p:nvGrpSpPr>
          <p:cNvPr id="139" name="Group 138"/>
          <p:cNvGrpSpPr/>
          <p:nvPr/>
        </p:nvGrpSpPr>
        <p:grpSpPr>
          <a:xfrm>
            <a:off x="5762965" y="3486744"/>
            <a:ext cx="1946433" cy="410097"/>
            <a:chOff x="5803394" y="5652378"/>
            <a:chExt cx="1985745" cy="418379"/>
          </a:xfrm>
        </p:grpSpPr>
        <p:pic>
          <p:nvPicPr>
            <p:cNvPr id="140" name="Picture 13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03394" y="5655926"/>
              <a:ext cx="411480" cy="411480"/>
            </a:xfrm>
            <a:prstGeom prst="rect">
              <a:avLst/>
            </a:prstGeom>
          </p:spPr>
        </p:pic>
        <p:sp>
          <p:nvSpPr>
            <p:cNvPr id="141" name="TextBox 140"/>
            <p:cNvSpPr txBox="1"/>
            <p:nvPr/>
          </p:nvSpPr>
          <p:spPr>
            <a:xfrm>
              <a:off x="6259101" y="5652378"/>
              <a:ext cx="1530038" cy="4183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3256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7" b="0" i="0" u="none" strike="noStrike" kern="1200" cap="none" spc="0" normalizeH="0" baseline="0" noProof="0" dirty="0">
                  <a:ln>
                    <a:noFill/>
                  </a:ln>
                  <a:solidFill>
                    <a:srgbClr val="00188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</a:t>
              </a:r>
            </a:p>
            <a:p>
              <a:pPr marL="0" marR="0" lvl="0" indent="0" algn="l" defTabSz="93256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7" b="0" i="0" u="none" strike="noStrike" kern="1200" cap="none" spc="0" normalizeH="0" baseline="0" noProof="0" dirty="0">
                  <a:ln>
                    <a:noFill/>
                  </a:ln>
                  <a:solidFill>
                    <a:srgbClr val="00188F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Machine Learning</a:t>
              </a:r>
            </a:p>
          </p:txBody>
        </p:sp>
      </p:grpSp>
      <p:pic>
        <p:nvPicPr>
          <p:cNvPr id="143" name="Picture 14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06304" y="3245982"/>
            <a:ext cx="471242" cy="471242"/>
          </a:xfrm>
          <a:prstGeom prst="rect">
            <a:avLst/>
          </a:prstGeom>
        </p:spPr>
      </p:pic>
      <p:grpSp>
        <p:nvGrpSpPr>
          <p:cNvPr id="144" name="Group 143"/>
          <p:cNvGrpSpPr/>
          <p:nvPr/>
        </p:nvGrpSpPr>
        <p:grpSpPr>
          <a:xfrm>
            <a:off x="10382389" y="1712580"/>
            <a:ext cx="513298" cy="622801"/>
            <a:chOff x="6925357" y="5002973"/>
            <a:chExt cx="788236" cy="956395"/>
          </a:xfrm>
        </p:grpSpPr>
        <p:pic>
          <p:nvPicPr>
            <p:cNvPr id="145" name="Picture 14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933303" y="5002973"/>
              <a:ext cx="780290" cy="780290"/>
            </a:xfrm>
            <a:prstGeom prst="rect">
              <a:avLst/>
            </a:prstGeom>
          </p:spPr>
        </p:pic>
        <p:sp>
          <p:nvSpPr>
            <p:cNvPr id="146" name="TextBox 145"/>
            <p:cNvSpPr txBox="1"/>
            <p:nvPr/>
          </p:nvSpPr>
          <p:spPr>
            <a:xfrm>
              <a:off x="6925357" y="5792569"/>
              <a:ext cx="628010" cy="1667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325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1200" cap="none" spc="-29" normalizeH="0" baseline="0" noProof="0" dirty="0">
                  <a:ln>
                    <a:noFill/>
                  </a:ln>
                  <a:solidFill>
                    <a:srgbClr val="00BEF2"/>
                  </a:solidFill>
                  <a:effectLst/>
                  <a:uLnTx/>
                  <a:uFillTx/>
                  <a:latin typeface="Segoe UI"/>
                  <a:ea typeface="+mn-ea"/>
                  <a:cs typeface="Segoe UI" panose="020B0502040204020203" pitchFamily="34" charset="0"/>
                </a:rPr>
                <a:t>HDInsight</a:t>
              </a:r>
            </a:p>
          </p:txBody>
        </p:sp>
      </p:grpSp>
      <p:sp>
        <p:nvSpPr>
          <p:cNvPr id="147" name="TextBox 146"/>
          <p:cNvSpPr txBox="1"/>
          <p:nvPr/>
        </p:nvSpPr>
        <p:spPr>
          <a:xfrm>
            <a:off x="9816271" y="6340523"/>
            <a:ext cx="2230302" cy="517024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627545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" grpId="0" animBg="1"/>
      <p:bldP spid="13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dern Workplace 2016">
  <a:themeElements>
    <a:clrScheme name="Custom 10">
      <a:dk1>
        <a:srgbClr val="2C292A"/>
      </a:dk1>
      <a:lt1>
        <a:srgbClr val="F1EFED"/>
      </a:lt1>
      <a:dk2>
        <a:srgbClr val="2C292A"/>
      </a:dk2>
      <a:lt2>
        <a:srgbClr val="FFFFFF"/>
      </a:lt2>
      <a:accent1>
        <a:srgbClr val="D83B01"/>
      </a:accent1>
      <a:accent2>
        <a:srgbClr val="FFC000"/>
      </a:accent2>
      <a:accent3>
        <a:srgbClr val="0078D7"/>
      </a:accent3>
      <a:accent4>
        <a:srgbClr val="2C292A"/>
      </a:accent4>
      <a:accent5>
        <a:srgbClr val="5A5456"/>
      </a:accent5>
      <a:accent6>
        <a:srgbClr val="B2ADAE"/>
      </a:accent6>
      <a:hlink>
        <a:srgbClr val="ED6722"/>
      </a:hlink>
      <a:folHlink>
        <a:srgbClr val="ED672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BLUE_2015_1.potx" id="{CA9BE438-1B0F-41E9-BD34-9780A77D52B5}" vid="{6EB7C265-9C81-4626-BD14-B5A4426B07BD}"/>
    </a:ext>
  </a:extLst>
</a:theme>
</file>

<file path=ppt/theme/theme2.xml><?xml version="1.0" encoding="utf-8"?>
<a:theme xmlns:a="http://schemas.openxmlformats.org/drawingml/2006/main" name="SMSG Readiness Master Template 16x9">
  <a:themeElements>
    <a:clrScheme name="Custom 2">
      <a:dk1>
        <a:srgbClr val="3F3F3F"/>
      </a:dk1>
      <a:lt1>
        <a:sysClr val="window" lastClr="FFFFFF"/>
      </a:lt1>
      <a:dk2>
        <a:srgbClr val="3F3F3F"/>
      </a:dk2>
      <a:lt2>
        <a:srgbClr val="FFFFFF"/>
      </a:lt2>
      <a:accent1>
        <a:srgbClr val="002050"/>
      </a:accent1>
      <a:accent2>
        <a:srgbClr val="00188F"/>
      </a:accent2>
      <a:accent3>
        <a:srgbClr val="0078D7"/>
      </a:accent3>
      <a:accent4>
        <a:srgbClr val="BAD80A"/>
      </a:accent4>
      <a:accent5>
        <a:srgbClr val="008272"/>
      </a:accent5>
      <a:accent6>
        <a:srgbClr val="00B294"/>
      </a:accent6>
      <a:hlink>
        <a:srgbClr val="00BCF2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orldwide Readiness Master Template_FY17 [Read-Only]" id="{676C480C-BCD2-42C6-8325-C12EEDABFEDC}" vid="{BDFA3DC7-AE32-40EE-9A7A-3DDFF815212E}"/>
    </a:ext>
  </a:extLst>
</a:theme>
</file>

<file path=ppt/theme/theme3.xml><?xml version="1.0" encoding="utf-8"?>
<a:theme xmlns:a="http://schemas.openxmlformats.org/drawingml/2006/main" name="1_Office Theme">
  <a:themeElements>
    <a:clrScheme name="Custom 1">
      <a:dk1>
        <a:srgbClr val="737373"/>
      </a:dk1>
      <a:lt1>
        <a:sysClr val="window" lastClr="FFFFFF"/>
      </a:lt1>
      <a:dk2>
        <a:srgbClr val="505050"/>
      </a:dk2>
      <a:lt2>
        <a:srgbClr val="E6E6E6"/>
      </a:lt2>
      <a:accent1>
        <a:srgbClr val="137AD4"/>
      </a:accent1>
      <a:accent2>
        <a:srgbClr val="20BDEF"/>
      </a:accent2>
      <a:accent3>
        <a:srgbClr val="FDB82C"/>
      </a:accent3>
      <a:accent4>
        <a:srgbClr val="737373"/>
      </a:accent4>
      <a:accent5>
        <a:srgbClr val="FFFFFF"/>
      </a:accent5>
      <a:accent6>
        <a:srgbClr val="FFFFFF"/>
      </a:accent6>
      <a:hlink>
        <a:srgbClr val="FFFFFF"/>
      </a:hlink>
      <a:folHlink>
        <a:srgbClr val="034A9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SMSG Readiness Master Template 16x9">
  <a:themeElements>
    <a:clrScheme name="Custom 2">
      <a:dk1>
        <a:srgbClr val="3F3F3F"/>
      </a:dk1>
      <a:lt1>
        <a:sysClr val="window" lastClr="FFFFFF"/>
      </a:lt1>
      <a:dk2>
        <a:srgbClr val="3F3F3F"/>
      </a:dk2>
      <a:lt2>
        <a:srgbClr val="FFFFFF"/>
      </a:lt2>
      <a:accent1>
        <a:srgbClr val="002050"/>
      </a:accent1>
      <a:accent2>
        <a:srgbClr val="00188F"/>
      </a:accent2>
      <a:accent3>
        <a:srgbClr val="0078D7"/>
      </a:accent3>
      <a:accent4>
        <a:srgbClr val="BAD80A"/>
      </a:accent4>
      <a:accent5>
        <a:srgbClr val="008272"/>
      </a:accent5>
      <a:accent6>
        <a:srgbClr val="00B294"/>
      </a:accent6>
      <a:hlink>
        <a:srgbClr val="00BCF2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MSGR Readiness Template_010415" id="{82D3D4E7-D223-4A60-81A2-37362F89B327}" vid="{51F33C4D-D8AA-44B3-AE4F-BCF1547D16F5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3</TotalTime>
  <Words>849</Words>
  <Application>Microsoft Office PowerPoint</Application>
  <PresentationFormat>Widescreen</PresentationFormat>
  <Paragraphs>197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1" baseType="lpstr">
      <vt:lpstr>Arial</vt:lpstr>
      <vt:lpstr>Bodoni Std Bold Italic</vt:lpstr>
      <vt:lpstr>Calibri</vt:lpstr>
      <vt:lpstr>Calibri Light</vt:lpstr>
      <vt:lpstr>Segoe UI</vt:lpstr>
      <vt:lpstr>Segoe UI Light</vt:lpstr>
      <vt:lpstr>Segoe UI Semibold</vt:lpstr>
      <vt:lpstr>Segoe UI Semilight</vt:lpstr>
      <vt:lpstr>Times New Roman</vt:lpstr>
      <vt:lpstr>Modern Workplace 2016</vt:lpstr>
      <vt:lpstr>SMSG Readiness Master Template 16x9</vt:lpstr>
      <vt:lpstr>1_Office Theme</vt:lpstr>
      <vt:lpstr>2_Office Theme</vt:lpstr>
      <vt:lpstr>1_SMSG Readiness Master Template 16x9</vt:lpstr>
      <vt:lpstr>think-cell Slide</vt:lpstr>
      <vt:lpstr>PowerPoint Presentation</vt:lpstr>
      <vt:lpstr>Open edX on Azure</vt:lpstr>
      <vt:lpstr>Specialized Certification Data Science MPP</vt:lpstr>
      <vt:lpstr>What is the Microsoft Professional Program?</vt:lpstr>
      <vt:lpstr>How does MPP work?</vt:lpstr>
      <vt:lpstr>Data Science Trac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ji Mathew</dc:creator>
  <cp:lastModifiedBy>Angel Rodriguez</cp:lastModifiedBy>
  <cp:revision>24</cp:revision>
  <dcterms:created xsi:type="dcterms:W3CDTF">2017-05-09T19:13:14Z</dcterms:created>
  <dcterms:modified xsi:type="dcterms:W3CDTF">2017-05-18T00:07:17Z</dcterms:modified>
</cp:coreProperties>
</file>